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sldIdLst>
    <p:sldId id="259" r:id="rId3"/>
    <p:sldId id="354" r:id="rId4"/>
    <p:sldId id="355" r:id="rId5"/>
    <p:sldId id="356" r:id="rId6"/>
    <p:sldId id="361" r:id="rId7"/>
    <p:sldId id="359" r:id="rId8"/>
    <p:sldId id="360" r:id="rId9"/>
    <p:sldId id="357" r:id="rId10"/>
    <p:sldId id="358" r:id="rId11"/>
    <p:sldId id="351" r:id="rId12"/>
    <p:sldId id="345" r:id="rId13"/>
    <p:sldId id="346" r:id="rId14"/>
    <p:sldId id="349" r:id="rId15"/>
    <p:sldId id="347" r:id="rId16"/>
    <p:sldId id="350" r:id="rId17"/>
    <p:sldId id="342" r:id="rId18"/>
    <p:sldId id="362" r:id="rId19"/>
    <p:sldId id="258" r:id="rId20"/>
  </p:sldIdLst>
  <p:sldSz cx="12192000" cy="6858000"/>
  <p:notesSz cx="6889750" cy="96710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13EEFD-4832-4936-8AD0-2E3F08493BC6}" v="910" dt="2024-04-19T15:05:06.7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1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k, Connie" userId="73351e60-ad32-4085-a232-1d9f9b189479" providerId="ADAL" clId="{EB13EEFD-4832-4936-8AD0-2E3F08493BC6}"/>
    <pc:docChg chg="undo redo custSel addSld delSld modSld sldOrd modMainMaster">
      <pc:chgData name="Clark, Connie" userId="73351e60-ad32-4085-a232-1d9f9b189479" providerId="ADAL" clId="{EB13EEFD-4832-4936-8AD0-2E3F08493BC6}" dt="2024-04-19T16:54:35.841" v="2546" actId="47"/>
      <pc:docMkLst>
        <pc:docMk/>
      </pc:docMkLst>
      <pc:sldChg chg="modSp add del mod ord">
        <pc:chgData name="Clark, Connie" userId="73351e60-ad32-4085-a232-1d9f9b189479" providerId="ADAL" clId="{EB13EEFD-4832-4936-8AD0-2E3F08493BC6}" dt="2024-04-19T16:54:35.841" v="2546" actId="47"/>
        <pc:sldMkLst>
          <pc:docMk/>
          <pc:sldMk cId="1230960022" sldId="256"/>
        </pc:sldMkLst>
        <pc:spChg chg="mod">
          <ac:chgData name="Clark, Connie" userId="73351e60-ad32-4085-a232-1d9f9b189479" providerId="ADAL" clId="{EB13EEFD-4832-4936-8AD0-2E3F08493BC6}" dt="2024-04-19T03:02:41.807" v="2325" actId="1076"/>
          <ac:spMkLst>
            <pc:docMk/>
            <pc:sldMk cId="1230960022" sldId="256"/>
            <ac:spMk id="3" creationId="{37ABBCCD-DB1F-B8DC-4E0E-FF0762EDCA9C}"/>
          </ac:spMkLst>
        </pc:spChg>
      </pc:sldChg>
      <pc:sldChg chg="add del">
        <pc:chgData name="Clark, Connie" userId="73351e60-ad32-4085-a232-1d9f9b189479" providerId="ADAL" clId="{EB13EEFD-4832-4936-8AD0-2E3F08493BC6}" dt="2024-04-19T16:54:34.245" v="2545" actId="47"/>
        <pc:sldMkLst>
          <pc:docMk/>
          <pc:sldMk cId="3400407833" sldId="257"/>
        </pc:sldMkLst>
      </pc:sldChg>
      <pc:sldChg chg="addSp delSp modSp add del mod">
        <pc:chgData name="Clark, Connie" userId="73351e60-ad32-4085-a232-1d9f9b189479" providerId="ADAL" clId="{EB13EEFD-4832-4936-8AD0-2E3F08493BC6}" dt="2024-04-19T16:54:31.894" v="2544" actId="14100"/>
        <pc:sldMkLst>
          <pc:docMk/>
          <pc:sldMk cId="2595390070" sldId="258"/>
        </pc:sldMkLst>
        <pc:spChg chg="del">
          <ac:chgData name="Clark, Connie" userId="73351e60-ad32-4085-a232-1d9f9b189479" providerId="ADAL" clId="{EB13EEFD-4832-4936-8AD0-2E3F08493BC6}" dt="2024-04-19T16:54:16.815" v="2540" actId="478"/>
          <ac:spMkLst>
            <pc:docMk/>
            <pc:sldMk cId="2595390070" sldId="258"/>
            <ac:spMk id="4" creationId="{E2FB4C99-FB25-0C4C-2555-1632DDD6A248}"/>
          </ac:spMkLst>
        </pc:spChg>
        <pc:spChg chg="del">
          <ac:chgData name="Clark, Connie" userId="73351e60-ad32-4085-a232-1d9f9b189479" providerId="ADAL" clId="{EB13EEFD-4832-4936-8AD0-2E3F08493BC6}" dt="2024-04-19T16:54:18.778" v="2541" actId="478"/>
          <ac:spMkLst>
            <pc:docMk/>
            <pc:sldMk cId="2595390070" sldId="258"/>
            <ac:spMk id="6" creationId="{D7A08E93-65D5-8CDE-884D-25CBBF01681A}"/>
          </ac:spMkLst>
        </pc:spChg>
        <pc:picChg chg="add mod">
          <ac:chgData name="Clark, Connie" userId="73351e60-ad32-4085-a232-1d9f9b189479" providerId="ADAL" clId="{EB13EEFD-4832-4936-8AD0-2E3F08493BC6}" dt="2024-04-19T16:54:31.894" v="2544" actId="14100"/>
          <ac:picMkLst>
            <pc:docMk/>
            <pc:sldMk cId="2595390070" sldId="258"/>
            <ac:picMk id="8" creationId="{AF186987-E84E-49C2-AD12-1E8886D85195}"/>
          </ac:picMkLst>
        </pc:picChg>
      </pc:sldChg>
      <pc:sldChg chg="addSp modSp mod ord">
        <pc:chgData name="Clark, Connie" userId="73351e60-ad32-4085-a232-1d9f9b189479" providerId="ADAL" clId="{EB13EEFD-4832-4936-8AD0-2E3F08493BC6}" dt="2024-04-19T15:01:57.952" v="2475" actId="2"/>
        <pc:sldMkLst>
          <pc:docMk/>
          <pc:sldMk cId="2143420529" sldId="259"/>
        </pc:sldMkLst>
        <pc:spChg chg="mod">
          <ac:chgData name="Clark, Connie" userId="73351e60-ad32-4085-a232-1d9f9b189479" providerId="ADAL" clId="{EB13EEFD-4832-4936-8AD0-2E3F08493BC6}" dt="2024-04-19T15:01:57.952" v="2475" actId="2"/>
          <ac:spMkLst>
            <pc:docMk/>
            <pc:sldMk cId="2143420529" sldId="259"/>
            <ac:spMk id="2" creationId="{9C1D9202-61EB-3CDC-555C-A59BBA992A00}"/>
          </ac:spMkLst>
        </pc:spChg>
        <pc:spChg chg="mod">
          <ac:chgData name="Clark, Connie" userId="73351e60-ad32-4085-a232-1d9f9b189479" providerId="ADAL" clId="{EB13EEFD-4832-4936-8AD0-2E3F08493BC6}" dt="2024-04-19T03:31:02.209" v="2459" actId="1076"/>
          <ac:spMkLst>
            <pc:docMk/>
            <pc:sldMk cId="2143420529" sldId="259"/>
            <ac:spMk id="3" creationId="{56A160A4-630C-B823-4E6D-2DB037C59454}"/>
          </ac:spMkLst>
        </pc:spChg>
        <pc:picChg chg="add mod">
          <ac:chgData name="Clark, Connie" userId="73351e60-ad32-4085-a232-1d9f9b189479" providerId="ADAL" clId="{EB13EEFD-4832-4936-8AD0-2E3F08493BC6}" dt="2024-04-19T03:04:08.081" v="2334" actId="1076"/>
          <ac:picMkLst>
            <pc:docMk/>
            <pc:sldMk cId="2143420529" sldId="259"/>
            <ac:picMk id="5" creationId="{0EC6EB13-F00B-8361-2213-D6038679AA31}"/>
          </ac:picMkLst>
        </pc:picChg>
        <pc:picChg chg="add mod">
          <ac:chgData name="Clark, Connie" userId="73351e60-ad32-4085-a232-1d9f9b189479" providerId="ADAL" clId="{EB13EEFD-4832-4936-8AD0-2E3F08493BC6}" dt="2024-04-19T03:04:59.397" v="2338" actId="1076"/>
          <ac:picMkLst>
            <pc:docMk/>
            <pc:sldMk cId="2143420529" sldId="259"/>
            <ac:picMk id="7" creationId="{D154D270-CC87-B0E4-EAF1-73028615712B}"/>
          </ac:picMkLst>
        </pc:picChg>
      </pc:sldChg>
      <pc:sldChg chg="del">
        <pc:chgData name="Clark, Connie" userId="73351e60-ad32-4085-a232-1d9f9b189479" providerId="ADAL" clId="{EB13EEFD-4832-4936-8AD0-2E3F08493BC6}" dt="2024-04-18T19:14:06.750" v="1030" actId="47"/>
        <pc:sldMkLst>
          <pc:docMk/>
          <pc:sldMk cId="3660545238" sldId="264"/>
        </pc:sldMkLst>
      </pc:sldChg>
      <pc:sldChg chg="modSp del mod modAnim">
        <pc:chgData name="Clark, Connie" userId="73351e60-ad32-4085-a232-1d9f9b189479" providerId="ADAL" clId="{EB13EEFD-4832-4936-8AD0-2E3F08493BC6}" dt="2024-04-18T19:14:06.750" v="1030" actId="47"/>
        <pc:sldMkLst>
          <pc:docMk/>
          <pc:sldMk cId="1273687299" sldId="317"/>
        </pc:sldMkLst>
        <pc:spChg chg="mod">
          <ac:chgData name="Clark, Connie" userId="73351e60-ad32-4085-a232-1d9f9b189479" providerId="ADAL" clId="{EB13EEFD-4832-4936-8AD0-2E3F08493BC6}" dt="2024-04-18T18:52:28.299" v="884" actId="2"/>
          <ac:spMkLst>
            <pc:docMk/>
            <pc:sldMk cId="1273687299" sldId="317"/>
            <ac:spMk id="3" creationId="{92C41378-9A40-22D4-4B63-A41D4079640A}"/>
          </ac:spMkLst>
        </pc:spChg>
        <pc:spChg chg="mod">
          <ac:chgData name="Clark, Connie" userId="73351e60-ad32-4085-a232-1d9f9b189479" providerId="ADAL" clId="{EB13EEFD-4832-4936-8AD0-2E3F08493BC6}" dt="2024-04-18T17:58:12.324" v="367" actId="1076"/>
          <ac:spMkLst>
            <pc:docMk/>
            <pc:sldMk cId="1273687299" sldId="317"/>
            <ac:spMk id="4" creationId="{A3A05F20-493D-D3B1-AB4A-8B9738E60DDF}"/>
          </ac:spMkLst>
        </pc:spChg>
      </pc:sldChg>
      <pc:sldChg chg="modSp del mod ord">
        <pc:chgData name="Clark, Connie" userId="73351e60-ad32-4085-a232-1d9f9b189479" providerId="ADAL" clId="{EB13EEFD-4832-4936-8AD0-2E3F08493BC6}" dt="2024-04-19T01:54:14.813" v="2318" actId="47"/>
        <pc:sldMkLst>
          <pc:docMk/>
          <pc:sldMk cId="737540542" sldId="319"/>
        </pc:sldMkLst>
        <pc:spChg chg="mod">
          <ac:chgData name="Clark, Connie" userId="73351e60-ad32-4085-a232-1d9f9b189479" providerId="ADAL" clId="{EB13EEFD-4832-4936-8AD0-2E3F08493BC6}" dt="2024-04-18T15:09:49.647" v="179" actId="255"/>
          <ac:spMkLst>
            <pc:docMk/>
            <pc:sldMk cId="737540542" sldId="319"/>
            <ac:spMk id="2" creationId="{E765D7F9-0160-201D-C262-3F3018BE4C30}"/>
          </ac:spMkLst>
        </pc:spChg>
      </pc:sldChg>
      <pc:sldChg chg="del">
        <pc:chgData name="Clark, Connie" userId="73351e60-ad32-4085-a232-1d9f9b189479" providerId="ADAL" clId="{EB13EEFD-4832-4936-8AD0-2E3F08493BC6}" dt="2024-04-18T19:14:06.750" v="1030" actId="47"/>
        <pc:sldMkLst>
          <pc:docMk/>
          <pc:sldMk cId="2448681916" sldId="335"/>
        </pc:sldMkLst>
      </pc:sldChg>
      <pc:sldChg chg="del">
        <pc:chgData name="Clark, Connie" userId="73351e60-ad32-4085-a232-1d9f9b189479" providerId="ADAL" clId="{EB13EEFD-4832-4936-8AD0-2E3F08493BC6}" dt="2024-04-18T19:14:06.750" v="1030" actId="47"/>
        <pc:sldMkLst>
          <pc:docMk/>
          <pc:sldMk cId="731385808" sldId="340"/>
        </pc:sldMkLst>
      </pc:sldChg>
      <pc:sldChg chg="addSp delSp modSp del mod ord">
        <pc:chgData name="Clark, Connie" userId="73351e60-ad32-4085-a232-1d9f9b189479" providerId="ADAL" clId="{EB13EEFD-4832-4936-8AD0-2E3F08493BC6}" dt="2024-04-19T00:00:06.674" v="1237" actId="47"/>
        <pc:sldMkLst>
          <pc:docMk/>
          <pc:sldMk cId="943361829" sldId="341"/>
        </pc:sldMkLst>
        <pc:spChg chg="mod">
          <ac:chgData name="Clark, Connie" userId="73351e60-ad32-4085-a232-1d9f9b189479" providerId="ADAL" clId="{EB13EEFD-4832-4936-8AD0-2E3F08493BC6}" dt="2024-04-18T16:54:15.881" v="273" actId="108"/>
          <ac:spMkLst>
            <pc:docMk/>
            <pc:sldMk cId="943361829" sldId="341"/>
            <ac:spMk id="2" creationId="{5E244D7F-32BF-C810-D8B7-E1D120F6465F}"/>
          </ac:spMkLst>
        </pc:spChg>
        <pc:spChg chg="add del">
          <ac:chgData name="Clark, Connie" userId="73351e60-ad32-4085-a232-1d9f9b189479" providerId="ADAL" clId="{EB13EEFD-4832-4936-8AD0-2E3F08493BC6}" dt="2024-04-18T13:32:01.453" v="39" actId="478"/>
          <ac:spMkLst>
            <pc:docMk/>
            <pc:sldMk cId="943361829" sldId="341"/>
            <ac:spMk id="4" creationId="{8A01A685-FE88-538E-4315-783A40816C92}"/>
          </ac:spMkLst>
        </pc:spChg>
        <pc:spChg chg="add mod">
          <ac:chgData name="Clark, Connie" userId="73351e60-ad32-4085-a232-1d9f9b189479" providerId="ADAL" clId="{EB13EEFD-4832-4936-8AD0-2E3F08493BC6}" dt="2024-04-18T19:12:15.695" v="1024" actId="20577"/>
          <ac:spMkLst>
            <pc:docMk/>
            <pc:sldMk cId="943361829" sldId="341"/>
            <ac:spMk id="5" creationId="{CC9C1E9E-78C5-A37D-9608-4DEDE450555C}"/>
          </ac:spMkLst>
        </pc:spChg>
        <pc:spChg chg="add del mod">
          <ac:chgData name="Clark, Connie" userId="73351e60-ad32-4085-a232-1d9f9b189479" providerId="ADAL" clId="{EB13EEFD-4832-4936-8AD0-2E3F08493BC6}" dt="2024-04-18T13:32:53.307" v="49" actId="478"/>
          <ac:spMkLst>
            <pc:docMk/>
            <pc:sldMk cId="943361829" sldId="341"/>
            <ac:spMk id="6" creationId="{FF308185-3380-19B3-0D98-52E1985D1A55}"/>
          </ac:spMkLst>
        </pc:spChg>
        <pc:spChg chg="add del mod">
          <ac:chgData name="Clark, Connie" userId="73351e60-ad32-4085-a232-1d9f9b189479" providerId="ADAL" clId="{EB13EEFD-4832-4936-8AD0-2E3F08493BC6}" dt="2024-04-18T18:02:33.299" v="388" actId="478"/>
          <ac:spMkLst>
            <pc:docMk/>
            <pc:sldMk cId="943361829" sldId="341"/>
            <ac:spMk id="7" creationId="{8F89E941-A4D9-EFCF-5EAD-6B7CF59CB549}"/>
          </ac:spMkLst>
        </pc:spChg>
        <pc:spChg chg="mod">
          <ac:chgData name="Clark, Connie" userId="73351e60-ad32-4085-a232-1d9f9b189479" providerId="ADAL" clId="{EB13EEFD-4832-4936-8AD0-2E3F08493BC6}" dt="2024-04-18T13:32:20.029" v="40"/>
          <ac:spMkLst>
            <pc:docMk/>
            <pc:sldMk cId="943361829" sldId="341"/>
            <ac:spMk id="9" creationId="{8EE11137-A725-A144-890D-834D7ABD11FE}"/>
          </ac:spMkLst>
        </pc:spChg>
        <pc:spChg chg="add mod">
          <ac:chgData name="Clark, Connie" userId="73351e60-ad32-4085-a232-1d9f9b189479" providerId="ADAL" clId="{EB13EEFD-4832-4936-8AD0-2E3F08493BC6}" dt="2024-04-18T13:32:34.269" v="44" actId="1076"/>
          <ac:spMkLst>
            <pc:docMk/>
            <pc:sldMk cId="943361829" sldId="341"/>
            <ac:spMk id="11" creationId="{2A5D4180-773D-384C-DC54-5D075BCD5279}"/>
          </ac:spMkLst>
        </pc:spChg>
        <pc:spChg chg="add mod">
          <ac:chgData name="Clark, Connie" userId="73351e60-ad32-4085-a232-1d9f9b189479" providerId="ADAL" clId="{EB13EEFD-4832-4936-8AD0-2E3F08493BC6}" dt="2024-04-18T18:00:41.112" v="374"/>
          <ac:spMkLst>
            <pc:docMk/>
            <pc:sldMk cId="943361829" sldId="341"/>
            <ac:spMk id="13" creationId="{9773782D-D734-CCD8-059B-05472B54A61E}"/>
          </ac:spMkLst>
        </pc:spChg>
        <pc:spChg chg="add mod">
          <ac:chgData name="Clark, Connie" userId="73351e60-ad32-4085-a232-1d9f9b189479" providerId="ADAL" clId="{EB13EEFD-4832-4936-8AD0-2E3F08493BC6}" dt="2024-04-18T18:02:25.142" v="386" actId="113"/>
          <ac:spMkLst>
            <pc:docMk/>
            <pc:sldMk cId="943361829" sldId="341"/>
            <ac:spMk id="14" creationId="{BAA414C1-E4FD-4DEE-A8D2-644382CCD01F}"/>
          </ac:spMkLst>
        </pc:spChg>
        <pc:spChg chg="add mod">
          <ac:chgData name="Clark, Connie" userId="73351e60-ad32-4085-a232-1d9f9b189479" providerId="ADAL" clId="{EB13EEFD-4832-4936-8AD0-2E3F08493BC6}" dt="2024-04-18T18:27:13.260" v="760" actId="1076"/>
          <ac:spMkLst>
            <pc:docMk/>
            <pc:sldMk cId="943361829" sldId="341"/>
            <ac:spMk id="25" creationId="{1DC7E3F5-6BC7-8C68-A636-77760D871AA9}"/>
          </ac:spMkLst>
        </pc:spChg>
        <pc:grpChg chg="add mod">
          <ac:chgData name="Clark, Connie" userId="73351e60-ad32-4085-a232-1d9f9b189479" providerId="ADAL" clId="{EB13EEFD-4832-4936-8AD0-2E3F08493BC6}" dt="2024-04-18T18:00:11.370" v="373" actId="1076"/>
          <ac:grpSpMkLst>
            <pc:docMk/>
            <pc:sldMk cId="943361829" sldId="341"/>
            <ac:grpSpMk id="8" creationId="{64467A9F-79D1-18E7-C88F-26F8FDCE2C42}"/>
          </ac:grpSpMkLst>
        </pc:grpChg>
        <pc:grpChg chg="add mod">
          <ac:chgData name="Clark, Connie" userId="73351e60-ad32-4085-a232-1d9f9b189479" providerId="ADAL" clId="{EB13EEFD-4832-4936-8AD0-2E3F08493BC6}" dt="2024-04-18T18:02:59.956" v="389" actId="1076"/>
          <ac:grpSpMkLst>
            <pc:docMk/>
            <pc:sldMk cId="943361829" sldId="341"/>
            <ac:grpSpMk id="12" creationId="{12A2AF3E-11DC-44A4-A906-2B7DD399A5B0}"/>
          </ac:grpSpMkLst>
        </pc:grpChg>
        <pc:picChg chg="mod">
          <ac:chgData name="Clark, Connie" userId="73351e60-ad32-4085-a232-1d9f9b189479" providerId="ADAL" clId="{EB13EEFD-4832-4936-8AD0-2E3F08493BC6}" dt="2024-04-18T13:32:20.029" v="40"/>
          <ac:picMkLst>
            <pc:docMk/>
            <pc:sldMk cId="943361829" sldId="341"/>
            <ac:picMk id="10" creationId="{AB8E1556-0D7A-00B2-CA48-A4108C42A6C3}"/>
          </ac:picMkLst>
        </pc:picChg>
        <pc:picChg chg="add mod">
          <ac:chgData name="Clark, Connie" userId="73351e60-ad32-4085-a232-1d9f9b189479" providerId="ADAL" clId="{EB13EEFD-4832-4936-8AD0-2E3F08493BC6}" dt="2024-04-18T18:16:47.593" v="403" actId="1076"/>
          <ac:picMkLst>
            <pc:docMk/>
            <pc:sldMk cId="943361829" sldId="341"/>
            <ac:picMk id="16" creationId="{70B29824-81FA-E260-0249-55DAC9BE5F96}"/>
          </ac:picMkLst>
        </pc:picChg>
        <pc:picChg chg="add del mod">
          <ac:chgData name="Clark, Connie" userId="73351e60-ad32-4085-a232-1d9f9b189479" providerId="ADAL" clId="{EB13EEFD-4832-4936-8AD0-2E3F08493BC6}" dt="2024-04-18T18:09:53.839" v="401" actId="478"/>
          <ac:picMkLst>
            <pc:docMk/>
            <pc:sldMk cId="943361829" sldId="341"/>
            <ac:picMk id="18" creationId="{B92B3889-6954-DDBD-B501-9DF9FDBAF0DD}"/>
          </ac:picMkLst>
        </pc:picChg>
        <pc:picChg chg="add del mod">
          <ac:chgData name="Clark, Connie" userId="73351e60-ad32-4085-a232-1d9f9b189479" providerId="ADAL" clId="{EB13EEFD-4832-4936-8AD0-2E3F08493BC6}" dt="2024-04-18T18:09:22.626" v="396" actId="478"/>
          <ac:picMkLst>
            <pc:docMk/>
            <pc:sldMk cId="943361829" sldId="341"/>
            <ac:picMk id="20" creationId="{F9ECA150-C8FB-C142-CB9E-3E015F11C9F3}"/>
          </ac:picMkLst>
        </pc:picChg>
        <pc:picChg chg="add mod">
          <ac:chgData name="Clark, Connie" userId="73351e60-ad32-4085-a232-1d9f9b189479" providerId="ADAL" clId="{EB13EEFD-4832-4936-8AD0-2E3F08493BC6}" dt="2024-04-19T00:00:02.570" v="1236" actId="1076"/>
          <ac:picMkLst>
            <pc:docMk/>
            <pc:sldMk cId="943361829" sldId="341"/>
            <ac:picMk id="22" creationId="{EE5CD629-2E02-66FE-83FF-4AFEDE2A769D}"/>
          </ac:picMkLst>
        </pc:picChg>
        <pc:picChg chg="add mod">
          <ac:chgData name="Clark, Connie" userId="73351e60-ad32-4085-a232-1d9f9b189479" providerId="ADAL" clId="{EB13EEFD-4832-4936-8AD0-2E3F08493BC6}" dt="2024-04-18T18:54:13.573" v="975" actId="1076"/>
          <ac:picMkLst>
            <pc:docMk/>
            <pc:sldMk cId="943361829" sldId="341"/>
            <ac:picMk id="24" creationId="{298DA9BC-8508-C74A-73B0-2D487CA5D07C}"/>
          </ac:picMkLst>
        </pc:picChg>
      </pc:sldChg>
      <pc:sldChg chg="modSp mod ord">
        <pc:chgData name="Clark, Connie" userId="73351e60-ad32-4085-a232-1d9f9b189479" providerId="ADAL" clId="{EB13EEFD-4832-4936-8AD0-2E3F08493BC6}" dt="2024-04-19T15:05:06.777" v="2537" actId="2"/>
        <pc:sldMkLst>
          <pc:docMk/>
          <pc:sldMk cId="84569833" sldId="342"/>
        </pc:sldMkLst>
        <pc:spChg chg="mod">
          <ac:chgData name="Clark, Connie" userId="73351e60-ad32-4085-a232-1d9f9b189479" providerId="ADAL" clId="{EB13EEFD-4832-4936-8AD0-2E3F08493BC6}" dt="2024-04-19T00:00:42.815" v="1275" actId="5793"/>
          <ac:spMkLst>
            <pc:docMk/>
            <pc:sldMk cId="84569833" sldId="342"/>
            <ac:spMk id="10" creationId="{F3EED6DA-60CD-9234-2CF5-CE10BD6CEC82}"/>
          </ac:spMkLst>
        </pc:spChg>
        <pc:graphicFrameChg chg="mod">
          <ac:chgData name="Clark, Connie" userId="73351e60-ad32-4085-a232-1d9f9b189479" providerId="ADAL" clId="{EB13EEFD-4832-4936-8AD0-2E3F08493BC6}" dt="2024-04-19T15:05:06.777" v="2537" actId="2"/>
          <ac:graphicFrameMkLst>
            <pc:docMk/>
            <pc:sldMk cId="84569833" sldId="342"/>
            <ac:graphicFrameMk id="13" creationId="{77F8D518-CD29-A3AF-DC8D-62911B0EC368}"/>
          </ac:graphicFrameMkLst>
        </pc:graphicFrameChg>
      </pc:sldChg>
      <pc:sldChg chg="addSp delSp modSp add del mod setBg">
        <pc:chgData name="Clark, Connie" userId="73351e60-ad32-4085-a232-1d9f9b189479" providerId="ADAL" clId="{EB13EEFD-4832-4936-8AD0-2E3F08493BC6}" dt="2024-04-18T18:48:17.922" v="861" actId="47"/>
        <pc:sldMkLst>
          <pc:docMk/>
          <pc:sldMk cId="3716948378" sldId="343"/>
        </pc:sldMkLst>
        <pc:spChg chg="mod">
          <ac:chgData name="Clark, Connie" userId="73351e60-ad32-4085-a232-1d9f9b189479" providerId="ADAL" clId="{EB13EEFD-4832-4936-8AD0-2E3F08493BC6}" dt="2024-04-18T18:38:09.921" v="812" actId="26606"/>
          <ac:spMkLst>
            <pc:docMk/>
            <pc:sldMk cId="3716948378" sldId="343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3:33:42.178" v="54" actId="478"/>
          <ac:spMkLst>
            <pc:docMk/>
            <pc:sldMk cId="3716948378" sldId="343"/>
            <ac:spMk id="3" creationId="{AA1E4AED-DEF0-0075-5948-ADF6C9948B0C}"/>
          </ac:spMkLst>
        </pc:spChg>
        <pc:spChg chg="add mod">
          <ac:chgData name="Clark, Connie" userId="73351e60-ad32-4085-a232-1d9f9b189479" providerId="ADAL" clId="{EB13EEFD-4832-4936-8AD0-2E3F08493BC6}" dt="2024-04-18T18:38:09.921" v="812" actId="26606"/>
          <ac:spMkLst>
            <pc:docMk/>
            <pc:sldMk cId="3716948378" sldId="343"/>
            <ac:spMk id="4" creationId="{2D2E7771-A73F-03C8-7B6A-FA89AE820B74}"/>
          </ac:spMkLst>
        </pc:spChg>
        <pc:spChg chg="add">
          <ac:chgData name="Clark, Connie" userId="73351e60-ad32-4085-a232-1d9f9b189479" providerId="ADAL" clId="{EB13EEFD-4832-4936-8AD0-2E3F08493BC6}" dt="2024-04-18T18:38:09.921" v="812" actId="26606"/>
          <ac:spMkLst>
            <pc:docMk/>
            <pc:sldMk cId="3716948378" sldId="343"/>
            <ac:spMk id="10" creationId="{B6FACB3C-9069-4791-BC5C-0DB7CD19B853}"/>
          </ac:spMkLst>
        </pc:spChg>
        <pc:spChg chg="add">
          <ac:chgData name="Clark, Connie" userId="73351e60-ad32-4085-a232-1d9f9b189479" providerId="ADAL" clId="{EB13EEFD-4832-4936-8AD0-2E3F08493BC6}" dt="2024-04-18T18:38:09.921" v="812" actId="26606"/>
          <ac:spMkLst>
            <pc:docMk/>
            <pc:sldMk cId="3716948378" sldId="343"/>
            <ac:spMk id="12" creationId="{71F2038E-D777-4B76-81DD-DD13EE91B9DD}"/>
          </ac:spMkLst>
        </pc:spChg>
        <pc:grpChg chg="add">
          <ac:chgData name="Clark, Connie" userId="73351e60-ad32-4085-a232-1d9f9b189479" providerId="ADAL" clId="{EB13EEFD-4832-4936-8AD0-2E3F08493BC6}" dt="2024-04-18T18:38:09.921" v="812" actId="26606"/>
          <ac:grpSpMkLst>
            <pc:docMk/>
            <pc:sldMk cId="3716948378" sldId="343"/>
            <ac:grpSpMk id="14" creationId="{DD354807-230F-4402-B1B9-F733A8F1F190}"/>
          </ac:grpSpMkLst>
        </pc:grpChg>
        <pc:picChg chg="add mod">
          <ac:chgData name="Clark, Connie" userId="73351e60-ad32-4085-a232-1d9f9b189479" providerId="ADAL" clId="{EB13EEFD-4832-4936-8AD0-2E3F08493BC6}" dt="2024-04-18T18:38:09.921" v="812" actId="26606"/>
          <ac:picMkLst>
            <pc:docMk/>
            <pc:sldMk cId="3716948378" sldId="343"/>
            <ac:picMk id="5" creationId="{43F31352-4A85-3E2F-9D9E-CC6047D99AC6}"/>
          </ac:picMkLst>
        </pc:picChg>
      </pc:sldChg>
      <pc:sldChg chg="addSp delSp modSp add del mod ord modAnim">
        <pc:chgData name="Clark, Connie" userId="73351e60-ad32-4085-a232-1d9f9b189479" providerId="ADAL" clId="{EB13EEFD-4832-4936-8AD0-2E3F08493BC6}" dt="2024-04-18T23:59:54.637" v="1235" actId="47"/>
        <pc:sldMkLst>
          <pc:docMk/>
          <pc:sldMk cId="3190828628" sldId="344"/>
        </pc:sldMkLst>
        <pc:spChg chg="mod">
          <ac:chgData name="Clark, Connie" userId="73351e60-ad32-4085-a232-1d9f9b189479" providerId="ADAL" clId="{EB13EEFD-4832-4936-8AD0-2E3F08493BC6}" dt="2024-04-18T18:48:51.344" v="865" actId="1076"/>
          <ac:spMkLst>
            <pc:docMk/>
            <pc:sldMk cId="3190828628" sldId="344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3:44:52.635" v="63" actId="478"/>
          <ac:spMkLst>
            <pc:docMk/>
            <pc:sldMk cId="3190828628" sldId="344"/>
            <ac:spMk id="3" creationId="{8DCEA7E1-7315-B13A-D86B-38A50142CB95}"/>
          </ac:spMkLst>
        </pc:spChg>
        <pc:spChg chg="add del mod">
          <ac:chgData name="Clark, Connie" userId="73351e60-ad32-4085-a232-1d9f9b189479" providerId="ADAL" clId="{EB13EEFD-4832-4936-8AD0-2E3F08493BC6}" dt="2024-04-18T16:52:44.432" v="246" actId="478"/>
          <ac:spMkLst>
            <pc:docMk/>
            <pc:sldMk cId="3190828628" sldId="344"/>
            <ac:spMk id="4" creationId="{843F76E4-4188-88E3-B6D2-E4FED6910DE3}"/>
          </ac:spMkLst>
        </pc:spChg>
        <pc:spChg chg="add mod">
          <ac:chgData name="Clark, Connie" userId="73351e60-ad32-4085-a232-1d9f9b189479" providerId="ADAL" clId="{EB13EEFD-4832-4936-8AD0-2E3F08493BC6}" dt="2024-04-18T18:51:50.128" v="874" actId="1076"/>
          <ac:spMkLst>
            <pc:docMk/>
            <pc:sldMk cId="3190828628" sldId="344"/>
            <ac:spMk id="5" creationId="{91696F2C-F9FC-CDF4-9233-FB13E2C3B7A1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6" creationId="{EF21A1A1-D4CF-1473-E1FA-5FA5BE4DC238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7" creationId="{3D86D64D-40AD-7762-83F3-07489368EF04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8" creationId="{2CB7445D-C456-4E61-A8F7-6BF85AE26803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9" creationId="{CA50B715-CAE3-EA50-385A-A274ECDFC529}"/>
          </ac:spMkLst>
        </pc:spChg>
        <pc:spChg chg="add del mod">
          <ac:chgData name="Clark, Connie" userId="73351e60-ad32-4085-a232-1d9f9b189479" providerId="ADAL" clId="{EB13EEFD-4832-4936-8AD0-2E3F08493BC6}" dt="2024-04-18T16:53:44.648" v="270" actId="478"/>
          <ac:spMkLst>
            <pc:docMk/>
            <pc:sldMk cId="3190828628" sldId="344"/>
            <ac:spMk id="10" creationId="{79DA2FBF-3096-844D-77A1-DFC76835C677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11" creationId="{588B3013-0BAE-98F7-252E-5B09BC8AF8F9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12" creationId="{34BF11CB-6E5F-2BFD-A0DC-E40DE9CC2D9D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13" creationId="{379B139F-808E-2BDF-869E-A85644BB1E5A}"/>
          </ac:spMkLst>
        </pc:spChg>
        <pc:spChg chg="add del mod">
          <ac:chgData name="Clark, Connie" userId="73351e60-ad32-4085-a232-1d9f9b189479" providerId="ADAL" clId="{EB13EEFD-4832-4936-8AD0-2E3F08493BC6}" dt="2024-04-18T18:55:01.753" v="989" actId="478"/>
          <ac:spMkLst>
            <pc:docMk/>
            <pc:sldMk cId="3190828628" sldId="344"/>
            <ac:spMk id="14" creationId="{162E8154-658D-F1E9-C69C-212A7566923F}"/>
          </ac:spMkLst>
        </pc:spChg>
        <pc:spChg chg="add del mod">
          <ac:chgData name="Clark, Connie" userId="73351e60-ad32-4085-a232-1d9f9b189479" providerId="ADAL" clId="{EB13EEFD-4832-4936-8AD0-2E3F08493BC6}" dt="2024-04-18T16:49:19.535" v="200"/>
          <ac:spMkLst>
            <pc:docMk/>
            <pc:sldMk cId="3190828628" sldId="344"/>
            <ac:spMk id="15" creationId="{62954010-7A2E-2035-8210-828E13CDE333}"/>
          </ac:spMkLst>
        </pc:spChg>
        <pc:spChg chg="add del mod">
          <ac:chgData name="Clark, Connie" userId="73351e60-ad32-4085-a232-1d9f9b189479" providerId="ADAL" clId="{EB13EEFD-4832-4936-8AD0-2E3F08493BC6}" dt="2024-04-18T16:50:00.348" v="206" actId="478"/>
          <ac:spMkLst>
            <pc:docMk/>
            <pc:sldMk cId="3190828628" sldId="344"/>
            <ac:spMk id="18" creationId="{F97CEEA5-7D10-BB05-905C-5963396E8614}"/>
          </ac:spMkLst>
        </pc:spChg>
        <pc:spChg chg="add del">
          <ac:chgData name="Clark, Connie" userId="73351e60-ad32-4085-a232-1d9f9b189479" providerId="ADAL" clId="{EB13EEFD-4832-4936-8AD0-2E3F08493BC6}" dt="2024-04-18T16:50:29.358" v="209" actId="478"/>
          <ac:spMkLst>
            <pc:docMk/>
            <pc:sldMk cId="3190828628" sldId="344"/>
            <ac:spMk id="19" creationId="{BF4F478F-B23D-ABF6-9DCB-276EE8A30715}"/>
          </ac:spMkLst>
        </pc:spChg>
        <pc:spChg chg="add del mod">
          <ac:chgData name="Clark, Connie" userId="73351e60-ad32-4085-a232-1d9f9b189479" providerId="ADAL" clId="{EB13EEFD-4832-4936-8AD0-2E3F08493BC6}" dt="2024-04-18T16:51:22.599" v="216"/>
          <ac:spMkLst>
            <pc:docMk/>
            <pc:sldMk cId="3190828628" sldId="344"/>
            <ac:spMk id="20" creationId="{4766D3BD-A93B-140E-819A-B623215A6F1E}"/>
          </ac:spMkLst>
        </pc:spChg>
        <pc:spChg chg="add del mod">
          <ac:chgData name="Clark, Connie" userId="73351e60-ad32-4085-a232-1d9f9b189479" providerId="ADAL" clId="{EB13EEFD-4832-4936-8AD0-2E3F08493BC6}" dt="2024-04-18T16:52:38.456" v="243"/>
          <ac:spMkLst>
            <pc:docMk/>
            <pc:sldMk cId="3190828628" sldId="344"/>
            <ac:spMk id="22" creationId="{AEFFD34D-168D-94EF-31C6-3E080E265299}"/>
          </ac:spMkLst>
        </pc:spChg>
        <pc:spChg chg="add del mod">
          <ac:chgData name="Clark, Connie" userId="73351e60-ad32-4085-a232-1d9f9b189479" providerId="ADAL" clId="{EB13EEFD-4832-4936-8AD0-2E3F08493BC6}" dt="2024-04-18T16:53:31.985" v="266"/>
          <ac:spMkLst>
            <pc:docMk/>
            <pc:sldMk cId="3190828628" sldId="344"/>
            <ac:spMk id="25" creationId="{805A3A9A-C848-9409-8F49-F8FC2B3EBF20}"/>
          </ac:spMkLst>
        </pc:spChg>
        <pc:spChg chg="add del mod">
          <ac:chgData name="Clark, Connie" userId="73351e60-ad32-4085-a232-1d9f9b189479" providerId="ADAL" clId="{EB13EEFD-4832-4936-8AD0-2E3F08493BC6}" dt="2024-04-18T18:52:39.881" v="886"/>
          <ac:spMkLst>
            <pc:docMk/>
            <pc:sldMk cId="3190828628" sldId="344"/>
            <ac:spMk id="27" creationId="{9DF97B55-6B0A-628F-F738-2BD32642E728}"/>
          </ac:spMkLst>
        </pc:spChg>
        <pc:picChg chg="add del mod">
          <ac:chgData name="Clark, Connie" userId="73351e60-ad32-4085-a232-1d9f9b189479" providerId="ADAL" clId="{EB13EEFD-4832-4936-8AD0-2E3F08493BC6}" dt="2024-04-18T16:51:02.423" v="212" actId="478"/>
          <ac:picMkLst>
            <pc:docMk/>
            <pc:sldMk cId="3190828628" sldId="344"/>
            <ac:picMk id="16" creationId="{535C3BD2-A829-3921-EB52-A64F418D9406}"/>
          </ac:picMkLst>
        </pc:picChg>
        <pc:picChg chg="add del mod">
          <ac:chgData name="Clark, Connie" userId="73351e60-ad32-4085-a232-1d9f9b189479" providerId="ADAL" clId="{EB13EEFD-4832-4936-8AD0-2E3F08493BC6}" dt="2024-04-18T16:52:27.389" v="241" actId="478"/>
          <ac:picMkLst>
            <pc:docMk/>
            <pc:sldMk cId="3190828628" sldId="344"/>
            <ac:picMk id="21" creationId="{1CA0C5AD-A7B8-D303-BCD2-7C36D3988E35}"/>
          </ac:picMkLst>
        </pc:picChg>
        <pc:picChg chg="add del mod">
          <ac:chgData name="Clark, Connie" userId="73351e60-ad32-4085-a232-1d9f9b189479" providerId="ADAL" clId="{EB13EEFD-4832-4936-8AD0-2E3F08493BC6}" dt="2024-04-18T18:52:45.483" v="889" actId="478"/>
          <ac:picMkLst>
            <pc:docMk/>
            <pc:sldMk cId="3190828628" sldId="344"/>
            <ac:picMk id="23" creationId="{FBFE48C6-E7B4-0A09-29FD-C25D56230559}"/>
          </ac:picMkLst>
        </pc:picChg>
        <pc:picChg chg="add del mod">
          <ac:chgData name="Clark, Connie" userId="73351e60-ad32-4085-a232-1d9f9b189479" providerId="ADAL" clId="{EB13EEFD-4832-4936-8AD0-2E3F08493BC6}" dt="2024-04-18T16:53:28.222" v="262" actId="478"/>
          <ac:picMkLst>
            <pc:docMk/>
            <pc:sldMk cId="3190828628" sldId="344"/>
            <ac:picMk id="24" creationId="{497974D2-1807-FDC5-AD9F-92423503CE17}"/>
          </ac:picMkLst>
        </pc:picChg>
        <pc:picChg chg="add mod">
          <ac:chgData name="Clark, Connie" userId="73351e60-ad32-4085-a232-1d9f9b189479" providerId="ADAL" clId="{EB13EEFD-4832-4936-8AD0-2E3F08493BC6}" dt="2024-04-18T18:49:42.341" v="870" actId="1076"/>
          <ac:picMkLst>
            <pc:docMk/>
            <pc:sldMk cId="3190828628" sldId="344"/>
            <ac:picMk id="26" creationId="{376F8DBE-DB2C-EDFC-94ED-04A5A26FD4CF}"/>
          </ac:picMkLst>
        </pc:picChg>
        <pc:picChg chg="add mod">
          <ac:chgData name="Clark, Connie" userId="73351e60-ad32-4085-a232-1d9f9b189479" providerId="ADAL" clId="{EB13EEFD-4832-4936-8AD0-2E3F08493BC6}" dt="2024-04-18T18:53:03.369" v="971" actId="1038"/>
          <ac:picMkLst>
            <pc:docMk/>
            <pc:sldMk cId="3190828628" sldId="344"/>
            <ac:picMk id="28" creationId="{166C8591-019F-E51C-71FD-04568683E8CB}"/>
          </ac:picMkLst>
        </pc:picChg>
        <pc:picChg chg="add mod">
          <ac:chgData name="Clark, Connie" userId="73351e60-ad32-4085-a232-1d9f9b189479" providerId="ADAL" clId="{EB13EEFD-4832-4936-8AD0-2E3F08493BC6}" dt="2024-04-18T18:55:01.077" v="988" actId="14100"/>
          <ac:picMkLst>
            <pc:docMk/>
            <pc:sldMk cId="3190828628" sldId="344"/>
            <ac:picMk id="29" creationId="{34DD2E1F-81C5-85A3-E85F-4B7ADCF09BE8}"/>
          </ac:picMkLst>
        </pc:picChg>
        <pc:picChg chg="add del mod">
          <ac:chgData name="Clark, Connie" userId="73351e60-ad32-4085-a232-1d9f9b189479" providerId="ADAL" clId="{EB13EEFD-4832-4936-8AD0-2E3F08493BC6}" dt="2024-04-18T18:55:00.502" v="987"/>
          <ac:picMkLst>
            <pc:docMk/>
            <pc:sldMk cId="3190828628" sldId="344"/>
            <ac:picMk id="30" creationId="{F2ECB929-BC50-07DA-01ED-89212883AF46}"/>
          </ac:picMkLst>
        </pc:picChg>
        <pc:picChg chg="add del mod">
          <ac:chgData name="Clark, Connie" userId="73351e60-ad32-4085-a232-1d9f9b189479" providerId="ADAL" clId="{EB13EEFD-4832-4936-8AD0-2E3F08493BC6}" dt="2024-04-18T18:54:58.879" v="985"/>
          <ac:picMkLst>
            <pc:docMk/>
            <pc:sldMk cId="3190828628" sldId="344"/>
            <ac:picMk id="31" creationId="{31304890-7583-ECB5-CEAF-3D5305AFB824}"/>
          </ac:picMkLst>
        </pc:picChg>
      </pc:sldChg>
      <pc:sldChg chg="addSp delSp modSp add mod ord">
        <pc:chgData name="Clark, Connie" userId="73351e60-ad32-4085-a232-1d9f9b189479" providerId="ADAL" clId="{EB13EEFD-4832-4936-8AD0-2E3F08493BC6}" dt="2024-04-19T15:03:49.843" v="2516" actId="2"/>
        <pc:sldMkLst>
          <pc:docMk/>
          <pc:sldMk cId="3402281262" sldId="345"/>
        </pc:sldMkLst>
        <pc:spChg chg="mod">
          <ac:chgData name="Clark, Connie" userId="73351e60-ad32-4085-a232-1d9f9b189479" providerId="ADAL" clId="{EB13EEFD-4832-4936-8AD0-2E3F08493BC6}" dt="2024-04-19T15:03:45.079" v="2513" actId="2"/>
          <ac:spMkLst>
            <pc:docMk/>
            <pc:sldMk cId="3402281262" sldId="345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" creationId="{E451941A-C515-75BF-AD91-7DDD6987613C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4" creationId="{0C50C7C2-A31D-9872-9D0C-A387F5BB27F5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5" creationId="{E27A8B80-A342-0168-EFAC-6FB5F911A89E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6" creationId="{F58228F9-AB81-599A-A0CE-2883CA633A9D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7" creationId="{DA745FA5-B143-5D3F-D131-969C82921812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8" creationId="{FED9D398-7373-ADFA-59C7-1192BFFE95AE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9" creationId="{3EC01BD4-A453-3665-C370-440736F52D59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0" creationId="{B66C6A69-5766-0526-5F1F-7EEC3EB14C41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1" creationId="{6B1EBE8D-1255-4882-420B-573E63324602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2" creationId="{CDEE807D-366E-5F8F-0F10-2374D720852D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3" creationId="{EA7A9091-AB06-A39A-BFBD-EBAA10504F33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4" creationId="{0F7A6DDD-B2C5-63FA-230A-1C96B0296621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5" creationId="{D7D7C501-921E-AC75-6471-4187C2D03BEF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6" creationId="{AE6AF0A5-A444-B97E-B800-4BC8EA249BB8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7" creationId="{B9D2E634-D0DE-4170-A3A3-944375D85313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8" creationId="{18DAEC65-FD2A-F3A9-2592-B76421815C03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19" creationId="{C2B17C81-A078-E699-E22B-B38FB4D2C359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0" creationId="{88E9E133-FB60-0C81-EDF9-066DA17D80A4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1" creationId="{427E71B2-8924-8351-0DA0-BF6550BA7F53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2" creationId="{938FB269-8F65-972A-A785-696391345698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3" creationId="{6754B7B1-BDD5-4014-E8B3-C19CD25242B5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4" creationId="{8F155242-5EAA-B559-B63B-76A4618B20B7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5" creationId="{D4D94997-4985-84AF-AE4D-A6EACAFA4236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6" creationId="{6C16B2A3-CB2B-E3CD-766E-A5A8F15C199B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7" creationId="{4A57DA50-920F-43ED-3994-BE0B824B71F3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8" creationId="{331A321F-DEF6-48D0-39F0-807FA90C4B1C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29" creationId="{566D7348-906F-887F-4E34-1F6462D8402A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0" creationId="{E2DB562E-591B-E8D7-8565-649111B1BF2E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1" creationId="{B4ECF3C4-6433-8789-268D-439647431F30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2" creationId="{15B0F4A9-2A29-43F4-F823-CC9695FF3DB9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3" creationId="{13C60F97-99D1-960D-B585-F1CCBE91DD2B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4" creationId="{373EF885-CDBE-E66C-4DE3-6CE6E9B4B8FC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5" creationId="{0980B27A-ABB2-CD54-CB99-51EBF79C1BFB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6" creationId="{910B8A49-2C6D-98C5-77D5-AC21D80FEDCD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7" creationId="{87B00BB1-4F5E-5BD7-F678-96134ADF8643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8" creationId="{D989D5BE-8348-E016-258D-6D20A690C8F6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39" creationId="{64CA9B5A-22C2-DC3D-12C9-83157AD699C6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40" creationId="{193AEEE6-314D-010C-9DB9-80F8F3F22E77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41" creationId="{383EF46D-9042-27B9-A6EA-FD0AA299DEF8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42" creationId="{C13A580E-836A-7DD5-70B1-998561BDD3C5}"/>
          </ac:spMkLst>
        </pc:spChg>
        <pc:spChg chg="add del mod">
          <ac:chgData name="Clark, Connie" userId="73351e60-ad32-4085-a232-1d9f9b189479" providerId="ADAL" clId="{EB13EEFD-4832-4936-8AD0-2E3F08493BC6}" dt="2024-04-18T13:57:28.057" v="76"/>
          <ac:spMkLst>
            <pc:docMk/>
            <pc:sldMk cId="3402281262" sldId="345"/>
            <ac:spMk id="43" creationId="{BB9C5408-F160-D6B9-A31D-5893DC8DA4BF}"/>
          </ac:spMkLst>
        </pc:spChg>
        <pc:spChg chg="add del mod">
          <ac:chgData name="Clark, Connie" userId="73351e60-ad32-4085-a232-1d9f9b189479" providerId="ADAL" clId="{EB13EEFD-4832-4936-8AD0-2E3F08493BC6}" dt="2024-04-18T19:12:10.352" v="1023" actId="478"/>
          <ac:spMkLst>
            <pc:docMk/>
            <pc:sldMk cId="3402281262" sldId="345"/>
            <ac:spMk id="44" creationId="{D8E18917-CB34-5487-0AE7-E3B12494DE45}"/>
          </ac:spMkLst>
        </pc:spChg>
        <pc:spChg chg="add del mod">
          <ac:chgData name="Clark, Connie" userId="73351e60-ad32-4085-a232-1d9f9b189479" providerId="ADAL" clId="{EB13EEFD-4832-4936-8AD0-2E3F08493BC6}" dt="2024-04-18T13:57:58.109" v="83" actId="478"/>
          <ac:spMkLst>
            <pc:docMk/>
            <pc:sldMk cId="3402281262" sldId="345"/>
            <ac:spMk id="45" creationId="{5CB35F1D-474A-2966-3D52-02E2E062D242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46" creationId="{12482627-EF06-AB0A-BD68-25067EFFFA6B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47" creationId="{0947A32F-1875-A844-E233-9FFB4F357E11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48" creationId="{768DE53F-2F07-18B0-03C7-7EEE9BE7B707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49" creationId="{F29AD5FF-5F62-DD1C-C48F-3382AA6874FB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0" creationId="{D677D865-3CAE-CAD7-962E-9EE7924F0F22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1" creationId="{007550C0-2B2E-6F08-22DC-08EDD93C13E7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2" creationId="{59B6654F-33E0-6E5D-B3A4-FD065D9B6396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3" creationId="{14EDF346-157C-DE25-2009-473A6EF53A9E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4" creationId="{5843B3A1-6AA1-8AC4-8FFF-9BB84ACC48DB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5" creationId="{2705498B-930E-DE7B-5FC4-B0A297AA166F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6" creationId="{7FB9DF65-606E-FAB9-8110-8ADD1B1618D2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7" creationId="{8CDAB737-8F61-A972-24A1-0CA664079E2B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8" creationId="{F8CC58D8-3719-13AC-A4F3-82C159A8395E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59" creationId="{272B1752-D4B4-E49E-D25E-CAC9EF5806A4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0" creationId="{D29939C7-6145-DF92-13F6-6D996EF0422E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1" creationId="{4271171C-8DEA-4299-5BF8-54C82E46A2CB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2" creationId="{F944619B-84F9-8165-B04D-CD41D901B960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3" creationId="{4143F29F-CCD2-021C-41A5-938133DC37A4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4" creationId="{454AFCC7-DAF3-6233-9709-C62671AB4B0B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5" creationId="{5A3983F7-579C-D62D-5D78-4C21D6A5DD60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6" creationId="{D0882312-71FF-03D0-5E72-C0CA865144CF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7" creationId="{57D84424-ED6B-752A-1833-5233B70B868D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8" creationId="{0DFCFDAE-3E0F-2A19-BEAD-14D8F37EC903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69" creationId="{FBD17551-126B-717D-F342-AA2751EF05AA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0" creationId="{F7C8E1A3-236A-88C0-2E3D-043E548FE761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1" creationId="{F2E34B1F-3F1F-C922-B775-F16A923D48F5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2" creationId="{56D25D0B-860F-967C-AE96-8BA71142F3FD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3" creationId="{2E1C3A5C-71F4-7180-4752-FA7E49BABB9D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4" creationId="{9B8A7300-E6B8-0A60-34F9-FC2F7C3CAA56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5" creationId="{C6CD0E97-70C9-FE29-5C97-C6895308D82C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6" creationId="{BDED2CB9-3C8F-3591-DE42-8138ABAFAF85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7" creationId="{A1FA30D3-86A1-1A0C-88DD-D10AF8D629FE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8" creationId="{07638716-C0E8-3C57-7681-5D9CB29FC8E5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79" creationId="{44E49807-8EB5-F024-7839-70F720789C3F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80" creationId="{2F0E6C16-C180-0B13-2D8B-489C17574133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81" creationId="{F21AD51B-F87C-5BB2-B577-9401213A9FD6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82" creationId="{CC549335-FC1F-34BC-13E7-B72485ADCE3C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83" creationId="{4938CE7A-4126-6F00-E8C4-55E3D01C6C52}"/>
          </ac:spMkLst>
        </pc:spChg>
        <pc:spChg chg="add del mod">
          <ac:chgData name="Clark, Connie" userId="73351e60-ad32-4085-a232-1d9f9b189479" providerId="ADAL" clId="{EB13EEFD-4832-4936-8AD0-2E3F08493BC6}" dt="2024-04-18T19:09:55.652" v="1010" actId="478"/>
          <ac:spMkLst>
            <pc:docMk/>
            <pc:sldMk cId="3402281262" sldId="345"/>
            <ac:spMk id="84" creationId="{5BB2C270-7814-E665-D678-0149B88B8ACC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85" creationId="{2C13E5F3-760C-5E88-40AA-9D52B0F2CE1A}"/>
          </ac:spMkLst>
        </pc:spChg>
        <pc:spChg chg="add mod">
          <ac:chgData name="Clark, Connie" userId="73351e60-ad32-4085-a232-1d9f9b189479" providerId="ADAL" clId="{EB13EEFD-4832-4936-8AD0-2E3F08493BC6}" dt="2024-04-19T15:03:47.185" v="2514" actId="2"/>
          <ac:spMkLst>
            <pc:docMk/>
            <pc:sldMk cId="3402281262" sldId="345"/>
            <ac:spMk id="86" creationId="{B577853F-8F51-56B7-321C-C36CD131DBBA}"/>
          </ac:spMkLst>
        </pc:spChg>
        <pc:spChg chg="add mod">
          <ac:chgData name="Clark, Connie" userId="73351e60-ad32-4085-a232-1d9f9b189479" providerId="ADAL" clId="{EB13EEFD-4832-4936-8AD0-2E3F08493BC6}" dt="2024-04-19T15:03:48.584" v="2515" actId="2"/>
          <ac:spMkLst>
            <pc:docMk/>
            <pc:sldMk cId="3402281262" sldId="345"/>
            <ac:spMk id="87" creationId="{A21AC673-1121-5914-6273-0778F32DF492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88" creationId="{7E3132D9-F918-7425-F03A-405AFE4CA9AF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89" creationId="{B25357CE-97B1-39C2-C07A-BD65C74F896C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0" creationId="{A3A8FE80-E26B-BBED-9787-C91A8CC4D6D9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1" creationId="{6BBE332D-9AC4-141B-F266-1EE49B54CCC9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2" creationId="{C76A0214-C29E-E583-440A-76C1D7017E99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3" creationId="{130AA2AD-1217-6AF6-C3C0-4FE3AD3CE70A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4" creationId="{2E718F3B-07C1-74A6-C492-8B2E509E11CF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5" creationId="{00C7D977-4E80-D3D8-1FFC-AAD19C42E26F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6" creationId="{C9793EFD-4F86-1A4E-7162-795625C98A01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7" creationId="{0022339D-9523-761D-00C8-DA283434F76C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8" creationId="{4378BC3A-BD59-3C1C-130F-02C60B2B004A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99" creationId="{18CF4F0A-65C9-2F67-3292-A7DCE8AA2FA6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0" creationId="{2B1661A8-70AC-EB6F-DC71-9112916DFA9C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1" creationId="{581EA4B7-BC02-949A-0AFC-B5C2AB127588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2" creationId="{7F2B9F86-7D10-ED1E-8B42-AC40616BDE7F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3" creationId="{1576C38D-AC29-2192-180B-2CCF930C7489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4" creationId="{16F75310-4486-D480-AA7E-C15872FE44DC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5" creationId="{02244D59-8CB3-E228-97CC-6484E928FDFA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6" creationId="{51A66F3C-8CF1-1841-DE75-71B7766EB864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7" creationId="{F7FD7349-56E4-F204-C4C1-B3E3ADAC6040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8" creationId="{A8BC674B-7646-84F2-B34E-CF64A4C9E0D7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09" creationId="{0B38C56F-6277-A477-9D3A-0A7C3DC51AB4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0" creationId="{EDF4B59A-F295-AA73-ACF3-8FEA5DF0EEEF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1" creationId="{1B3C63A8-A4E7-4F0C-FB86-27C20BF6CB75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2" creationId="{CFE945B6-6568-33BE-9A6A-F58624ECAF7E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3" creationId="{B805E649-75AB-99C0-F62E-B12B42FC0ABE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4" creationId="{24D295F8-E940-49A4-19A5-7CC2495186EF}"/>
          </ac:spMkLst>
        </pc:spChg>
        <pc:spChg chg="add mod">
          <ac:chgData name="Clark, Connie" userId="73351e60-ad32-4085-a232-1d9f9b189479" providerId="ADAL" clId="{EB13EEFD-4832-4936-8AD0-2E3F08493BC6}" dt="2024-04-19T15:03:49.843" v="2516" actId="2"/>
          <ac:spMkLst>
            <pc:docMk/>
            <pc:sldMk cId="3402281262" sldId="345"/>
            <ac:spMk id="115" creationId="{4EE45EA0-7087-285D-6825-911DE67E5EA3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6" creationId="{E1C0D9F5-D799-8B91-37D4-E3F26F0F86E7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7" creationId="{517F982E-E720-D71E-4ACF-77010191BBE6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8" creationId="{2E07C317-146E-B24A-9A97-B72A93143B37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19" creationId="{CDAD6169-FC78-440E-57B5-5A4964E2BA82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20" creationId="{FAD64DF1-2A4B-9D85-31EA-560FAEE7F89A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21" creationId="{7E6F0293-6EAA-CA15-B66D-08E58F7A3B85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22" creationId="{36D3BD84-DC6F-D357-A901-B65942440940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23" creationId="{7107A500-F3C4-79A8-1F32-7E1C49593057}"/>
          </ac:spMkLst>
        </pc:spChg>
        <pc:spChg chg="add mod">
          <ac:chgData name="Clark, Connie" userId="73351e60-ad32-4085-a232-1d9f9b189479" providerId="ADAL" clId="{EB13EEFD-4832-4936-8AD0-2E3F08493BC6}" dt="2024-04-19T00:52:56.249" v="1678" actId="1076"/>
          <ac:spMkLst>
            <pc:docMk/>
            <pc:sldMk cId="3402281262" sldId="345"/>
            <ac:spMk id="124" creationId="{AC44A454-DB39-F7C4-401D-E3BBF06CF7DD}"/>
          </ac:spMkLst>
        </pc:spChg>
      </pc:sldChg>
      <pc:sldChg chg="addSp delSp modSp add mod ord delAnim modAnim">
        <pc:chgData name="Clark, Connie" userId="73351e60-ad32-4085-a232-1d9f9b189479" providerId="ADAL" clId="{EB13EEFD-4832-4936-8AD0-2E3F08493BC6}" dt="2024-04-19T15:03:56.206" v="2521" actId="2"/>
        <pc:sldMkLst>
          <pc:docMk/>
          <pc:sldMk cId="3426555884" sldId="346"/>
        </pc:sldMkLst>
        <pc:spChg chg="mod">
          <ac:chgData name="Clark, Connie" userId="73351e60-ad32-4085-a232-1d9f9b189479" providerId="ADAL" clId="{EB13EEFD-4832-4936-8AD0-2E3F08493BC6}" dt="2024-04-19T15:03:53.457" v="2518" actId="2"/>
          <ac:spMkLst>
            <pc:docMk/>
            <pc:sldMk cId="3426555884" sldId="346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5:03:15.684" v="123" actId="478"/>
          <ac:spMkLst>
            <pc:docMk/>
            <pc:sldMk cId="3426555884" sldId="346"/>
            <ac:spMk id="3" creationId="{C34CA25E-156B-DD21-B987-014AA998BEC9}"/>
          </ac:spMkLst>
        </pc:spChg>
        <pc:spChg chg="add mod">
          <ac:chgData name="Clark, Connie" userId="73351e60-ad32-4085-a232-1d9f9b189479" providerId="ADAL" clId="{EB13EEFD-4832-4936-8AD0-2E3F08493BC6}" dt="2024-04-19T15:03:56.206" v="2521" actId="2"/>
          <ac:spMkLst>
            <pc:docMk/>
            <pc:sldMk cId="3426555884" sldId="346"/>
            <ac:spMk id="4" creationId="{A201C080-5A6A-66E8-8FE0-65EE25233003}"/>
          </ac:spMkLst>
        </pc:spChg>
        <pc:spChg chg="add del mod">
          <ac:chgData name="Clark, Connie" userId="73351e60-ad32-4085-a232-1d9f9b189479" providerId="ADAL" clId="{EB13EEFD-4832-4936-8AD0-2E3F08493BC6}" dt="2024-04-18T14:00:01.294" v="121" actId="478"/>
          <ac:spMkLst>
            <pc:docMk/>
            <pc:sldMk cId="3426555884" sldId="346"/>
            <ac:spMk id="5" creationId="{BF701A0B-7F01-8D4D-D097-FE5B66007CF0}"/>
          </ac:spMkLst>
        </pc:spChg>
        <pc:spChg chg="add del mod">
          <ac:chgData name="Clark, Connie" userId="73351e60-ad32-4085-a232-1d9f9b189479" providerId="ADAL" clId="{EB13EEFD-4832-4936-8AD0-2E3F08493BC6}" dt="2024-04-19T00:06:51.171" v="1348" actId="478"/>
          <ac:spMkLst>
            <pc:docMk/>
            <pc:sldMk cId="3426555884" sldId="346"/>
            <ac:spMk id="7" creationId="{D3078B62-03B1-FE3D-A737-47D9409E0E2D}"/>
          </ac:spMkLst>
        </pc:spChg>
        <pc:spChg chg="add del mod">
          <ac:chgData name="Clark, Connie" userId="73351e60-ad32-4085-a232-1d9f9b189479" providerId="ADAL" clId="{EB13EEFD-4832-4936-8AD0-2E3F08493BC6}" dt="2024-04-19T00:06:51.171" v="1348" actId="478"/>
          <ac:spMkLst>
            <pc:docMk/>
            <pc:sldMk cId="3426555884" sldId="346"/>
            <ac:spMk id="8" creationId="{4BF27576-B08E-BD90-5196-EDCF6226A824}"/>
          </ac:spMkLst>
        </pc:spChg>
        <pc:spChg chg="add del mod">
          <ac:chgData name="Clark, Connie" userId="73351e60-ad32-4085-a232-1d9f9b189479" providerId="ADAL" clId="{EB13EEFD-4832-4936-8AD0-2E3F08493BC6}" dt="2024-04-19T00:06:51.171" v="1348" actId="478"/>
          <ac:spMkLst>
            <pc:docMk/>
            <pc:sldMk cId="3426555884" sldId="346"/>
            <ac:spMk id="9" creationId="{62463E84-6DFD-0A70-2811-BABE74409004}"/>
          </ac:spMkLst>
        </pc:spChg>
        <pc:picChg chg="add del mod">
          <ac:chgData name="Clark, Connie" userId="73351e60-ad32-4085-a232-1d9f9b189479" providerId="ADAL" clId="{EB13EEFD-4832-4936-8AD0-2E3F08493BC6}" dt="2024-04-18T23:51:10.317" v="1173" actId="478"/>
          <ac:picMkLst>
            <pc:docMk/>
            <pc:sldMk cId="3426555884" sldId="346"/>
            <ac:picMk id="6" creationId="{557B511D-5B83-2C6D-039A-E9B893F0D2E6}"/>
          </ac:picMkLst>
        </pc:picChg>
      </pc:sldChg>
      <pc:sldChg chg="addSp delSp modSp add mod ord">
        <pc:chgData name="Clark, Connie" userId="73351e60-ad32-4085-a232-1d9f9b189479" providerId="ADAL" clId="{EB13EEFD-4832-4936-8AD0-2E3F08493BC6}" dt="2024-04-19T15:04:11.166" v="2529" actId="2"/>
        <pc:sldMkLst>
          <pc:docMk/>
          <pc:sldMk cId="2247147646" sldId="347"/>
        </pc:sldMkLst>
        <pc:spChg chg="mod">
          <ac:chgData name="Clark, Connie" userId="73351e60-ad32-4085-a232-1d9f9b189479" providerId="ADAL" clId="{EB13EEFD-4832-4936-8AD0-2E3F08493BC6}" dt="2024-04-19T15:04:11.166" v="2529" actId="2"/>
          <ac:spMkLst>
            <pc:docMk/>
            <pc:sldMk cId="2247147646" sldId="347"/>
            <ac:spMk id="2" creationId="{5E244D7F-32BF-C810-D8B7-E1D120F6465F}"/>
          </ac:spMkLst>
        </pc:spChg>
        <pc:spChg chg="add mod">
          <ac:chgData name="Clark, Connie" userId="73351e60-ad32-4085-a232-1d9f9b189479" providerId="ADAL" clId="{EB13EEFD-4832-4936-8AD0-2E3F08493BC6}" dt="2024-04-19T00:08:25.487" v="1355" actId="1076"/>
          <ac:spMkLst>
            <pc:docMk/>
            <pc:sldMk cId="2247147646" sldId="347"/>
            <ac:spMk id="3" creationId="{D1F208B3-5A48-8F0B-F394-117A830AB6A4}"/>
          </ac:spMkLst>
        </pc:spChg>
        <pc:spChg chg="add mod">
          <ac:chgData name="Clark, Connie" userId="73351e60-ad32-4085-a232-1d9f9b189479" providerId="ADAL" clId="{EB13EEFD-4832-4936-8AD0-2E3F08493BC6}" dt="2024-04-18T23:57:36.653" v="1215" actId="20577"/>
          <ac:spMkLst>
            <pc:docMk/>
            <pc:sldMk cId="2247147646" sldId="347"/>
            <ac:spMk id="4" creationId="{8199B6E0-363D-8923-662B-FE968EB99BD1}"/>
          </ac:spMkLst>
        </pc:spChg>
        <pc:spChg chg="add del mod">
          <ac:chgData name="Clark, Connie" userId="73351e60-ad32-4085-a232-1d9f9b189479" providerId="ADAL" clId="{EB13EEFD-4832-4936-8AD0-2E3F08493BC6}" dt="2024-04-18T15:09:07.423" v="161" actId="478"/>
          <ac:spMkLst>
            <pc:docMk/>
            <pc:sldMk cId="2247147646" sldId="347"/>
            <ac:spMk id="5" creationId="{837DA884-AD54-3ABD-8881-D0D96DA13E66}"/>
          </ac:spMkLst>
        </pc:spChg>
        <pc:spChg chg="add mod">
          <ac:chgData name="Clark, Connie" userId="73351e60-ad32-4085-a232-1d9f9b189479" providerId="ADAL" clId="{EB13EEFD-4832-4936-8AD0-2E3F08493BC6}" dt="2024-04-19T00:08:20.886" v="1354" actId="20577"/>
          <ac:spMkLst>
            <pc:docMk/>
            <pc:sldMk cId="2247147646" sldId="347"/>
            <ac:spMk id="6" creationId="{228A4D57-13B4-D31D-A22E-673EFFBF19FC}"/>
          </ac:spMkLst>
        </pc:spChg>
        <pc:picChg chg="add mod">
          <ac:chgData name="Clark, Connie" userId="73351e60-ad32-4085-a232-1d9f9b189479" providerId="ADAL" clId="{EB13EEFD-4832-4936-8AD0-2E3F08493BC6}" dt="2024-04-19T00:07:49.892" v="1352" actId="1076"/>
          <ac:picMkLst>
            <pc:docMk/>
            <pc:sldMk cId="2247147646" sldId="347"/>
            <ac:picMk id="7" creationId="{639FF84B-95BC-49F1-30C1-C61C4C5288DB}"/>
          </ac:picMkLst>
        </pc:picChg>
      </pc:sldChg>
      <pc:sldChg chg="addSp delSp modSp add del mod ord setBg addAnim">
        <pc:chgData name="Clark, Connie" userId="73351e60-ad32-4085-a232-1d9f9b189479" providerId="ADAL" clId="{EB13EEFD-4832-4936-8AD0-2E3F08493BC6}" dt="2024-04-18T17:56:51.664" v="366" actId="47"/>
        <pc:sldMkLst>
          <pc:docMk/>
          <pc:sldMk cId="917664383" sldId="348"/>
        </pc:sldMkLst>
        <pc:spChg chg="mod">
          <ac:chgData name="Clark, Connie" userId="73351e60-ad32-4085-a232-1d9f9b189479" providerId="ADAL" clId="{EB13EEFD-4832-4936-8AD0-2E3F08493BC6}" dt="2024-04-18T17:56:10.777" v="361" actId="2"/>
          <ac:spMkLst>
            <pc:docMk/>
            <pc:sldMk cId="917664383" sldId="348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3:30:30.704" v="10" actId="478"/>
          <ac:spMkLst>
            <pc:docMk/>
            <pc:sldMk cId="917664383" sldId="348"/>
            <ac:spMk id="3" creationId="{24D47BAE-F859-DDA6-9C72-BE187091531B}"/>
          </ac:spMkLst>
        </pc:spChg>
        <pc:spChg chg="add del mod">
          <ac:chgData name="Clark, Connie" userId="73351e60-ad32-4085-a232-1d9f9b189479" providerId="ADAL" clId="{EB13EEFD-4832-4936-8AD0-2E3F08493BC6}" dt="2024-04-18T17:52:06.432" v="331" actId="478"/>
          <ac:spMkLst>
            <pc:docMk/>
            <pc:sldMk cId="917664383" sldId="348"/>
            <ac:spMk id="4" creationId="{B586291F-980D-9614-E971-BF18CD52DB5F}"/>
          </ac:spMkLst>
        </pc:spChg>
        <pc:spChg chg="add">
          <ac:chgData name="Clark, Connie" userId="73351e60-ad32-4085-a232-1d9f9b189479" providerId="ADAL" clId="{EB13EEFD-4832-4936-8AD0-2E3F08493BC6}" dt="2024-04-18T17:54:29.149" v="333" actId="26606"/>
          <ac:spMkLst>
            <pc:docMk/>
            <pc:sldMk cId="917664383" sldId="348"/>
            <ac:spMk id="11" creationId="{9B7AD9F6-8CE7-4299-8FC6-328F4DCD3FF9}"/>
          </ac:spMkLst>
        </pc:spChg>
        <pc:spChg chg="add">
          <ac:chgData name="Clark, Connie" userId="73351e60-ad32-4085-a232-1d9f9b189479" providerId="ADAL" clId="{EB13EEFD-4832-4936-8AD0-2E3F08493BC6}" dt="2024-04-18T17:54:29.149" v="333" actId="26606"/>
          <ac:spMkLst>
            <pc:docMk/>
            <pc:sldMk cId="917664383" sldId="348"/>
            <ac:spMk id="13" creationId="{F49775AF-8896-43EE-92C6-83497D6DC56F}"/>
          </ac:spMkLst>
        </pc:spChg>
        <pc:picChg chg="add mod">
          <ac:chgData name="Clark, Connie" userId="73351e60-ad32-4085-a232-1d9f9b189479" providerId="ADAL" clId="{EB13EEFD-4832-4936-8AD0-2E3F08493BC6}" dt="2024-04-18T17:54:59.410" v="351" actId="1076"/>
          <ac:picMkLst>
            <pc:docMk/>
            <pc:sldMk cId="917664383" sldId="348"/>
            <ac:picMk id="6" creationId="{1D536D88-66C9-0DA6-8350-DB3AFA3780DC}"/>
          </ac:picMkLst>
        </pc:picChg>
      </pc:sldChg>
      <pc:sldChg chg="addSp delSp modSp add mod ord">
        <pc:chgData name="Clark, Connie" userId="73351e60-ad32-4085-a232-1d9f9b189479" providerId="ADAL" clId="{EB13EEFD-4832-4936-8AD0-2E3F08493BC6}" dt="2024-04-19T15:04:07.207" v="2528" actId="2"/>
        <pc:sldMkLst>
          <pc:docMk/>
          <pc:sldMk cId="1784784983" sldId="349"/>
        </pc:sldMkLst>
        <pc:spChg chg="mod">
          <ac:chgData name="Clark, Connie" userId="73351e60-ad32-4085-a232-1d9f9b189479" providerId="ADAL" clId="{EB13EEFD-4832-4936-8AD0-2E3F08493BC6}" dt="2024-04-19T15:03:58.955" v="2523" actId="2"/>
          <ac:spMkLst>
            <pc:docMk/>
            <pc:sldMk cId="1784784983" sldId="349"/>
            <ac:spMk id="2" creationId="{5E244D7F-32BF-C810-D8B7-E1D120F6465F}"/>
          </ac:spMkLst>
        </pc:spChg>
        <pc:spChg chg="add mod">
          <ac:chgData name="Clark, Connie" userId="73351e60-ad32-4085-a232-1d9f9b189479" providerId="ADAL" clId="{EB13EEFD-4832-4936-8AD0-2E3F08493BC6}" dt="2024-04-18T15:03:39.801" v="126" actId="1076"/>
          <ac:spMkLst>
            <pc:docMk/>
            <pc:sldMk cId="1784784983" sldId="349"/>
            <ac:spMk id="3" creationId="{9CFF3C32-FEBB-E6E9-AC8B-9E2B3529B830}"/>
          </ac:spMkLst>
        </pc:spChg>
        <pc:spChg chg="mod">
          <ac:chgData name="Clark, Connie" userId="73351e60-ad32-4085-a232-1d9f9b189479" providerId="ADAL" clId="{EB13EEFD-4832-4936-8AD0-2E3F08493BC6}" dt="2024-04-18T15:03:33.889" v="124"/>
          <ac:spMkLst>
            <pc:docMk/>
            <pc:sldMk cId="1784784983" sldId="349"/>
            <ac:spMk id="5" creationId="{061CC18D-FD77-6F1B-A411-E47AC4B3D7DB}"/>
          </ac:spMkLst>
        </pc:spChg>
        <pc:spChg chg="add mod">
          <ac:chgData name="Clark, Connie" userId="73351e60-ad32-4085-a232-1d9f9b189479" providerId="ADAL" clId="{EB13EEFD-4832-4936-8AD0-2E3F08493BC6}" dt="2024-04-19T15:04:07.207" v="2528" actId="2"/>
          <ac:spMkLst>
            <pc:docMk/>
            <pc:sldMk cId="1784784983" sldId="349"/>
            <ac:spMk id="7" creationId="{F118AAD6-639C-4E73-2845-00A2A1B256EB}"/>
          </ac:spMkLst>
        </pc:spChg>
        <pc:spChg chg="add del mod">
          <ac:chgData name="Clark, Connie" userId="73351e60-ad32-4085-a232-1d9f9b189479" providerId="ADAL" clId="{EB13EEFD-4832-4936-8AD0-2E3F08493BC6}" dt="2024-04-18T15:03:46.266" v="127" actId="478"/>
          <ac:spMkLst>
            <pc:docMk/>
            <pc:sldMk cId="1784784983" sldId="349"/>
            <ac:spMk id="8" creationId="{8A366D69-EDBC-F826-66A2-7D1B24840F28}"/>
          </ac:spMkLst>
        </pc:spChg>
        <pc:spChg chg="add mod">
          <ac:chgData name="Clark, Connie" userId="73351e60-ad32-4085-a232-1d9f9b189479" providerId="ADAL" clId="{EB13EEFD-4832-4936-8AD0-2E3F08493BC6}" dt="2024-04-19T00:05:32.631" v="1346" actId="1076"/>
          <ac:spMkLst>
            <pc:docMk/>
            <pc:sldMk cId="1784784983" sldId="349"/>
            <ac:spMk id="9" creationId="{FC2851AE-13D0-80B5-08F8-F91BB39EEF93}"/>
          </ac:spMkLst>
        </pc:spChg>
        <pc:spChg chg="add mod">
          <ac:chgData name="Clark, Connie" userId="73351e60-ad32-4085-a232-1d9f9b189479" providerId="ADAL" clId="{EB13EEFD-4832-4936-8AD0-2E3F08493BC6}" dt="2024-04-19T00:05:32.631" v="1346" actId="1076"/>
          <ac:spMkLst>
            <pc:docMk/>
            <pc:sldMk cId="1784784983" sldId="349"/>
            <ac:spMk id="10" creationId="{0FF16B4A-5384-F7D1-44FE-2FC5415043BF}"/>
          </ac:spMkLst>
        </pc:spChg>
        <pc:spChg chg="add mod">
          <ac:chgData name="Clark, Connie" userId="73351e60-ad32-4085-a232-1d9f9b189479" providerId="ADAL" clId="{EB13EEFD-4832-4936-8AD0-2E3F08493BC6}" dt="2024-04-19T00:05:32.631" v="1346" actId="1076"/>
          <ac:spMkLst>
            <pc:docMk/>
            <pc:sldMk cId="1784784983" sldId="349"/>
            <ac:spMk id="11" creationId="{B65BBDC8-6275-BE2B-A8E0-B5B62EAB4436}"/>
          </ac:spMkLst>
        </pc:spChg>
        <pc:grpChg chg="add del mod">
          <ac:chgData name="Clark, Connie" userId="73351e60-ad32-4085-a232-1d9f9b189479" providerId="ADAL" clId="{EB13EEFD-4832-4936-8AD0-2E3F08493BC6}" dt="2024-04-18T23:56:51.810" v="1213" actId="478"/>
          <ac:grpSpMkLst>
            <pc:docMk/>
            <pc:sldMk cId="1784784983" sldId="349"/>
            <ac:grpSpMk id="4" creationId="{C68C399F-9331-50AE-4AE8-DC65A6F02175}"/>
          </ac:grpSpMkLst>
        </pc:grpChg>
        <pc:picChg chg="mod">
          <ac:chgData name="Clark, Connie" userId="73351e60-ad32-4085-a232-1d9f9b189479" providerId="ADAL" clId="{EB13EEFD-4832-4936-8AD0-2E3F08493BC6}" dt="2024-04-18T15:03:33.889" v="124"/>
          <ac:picMkLst>
            <pc:docMk/>
            <pc:sldMk cId="1784784983" sldId="349"/>
            <ac:picMk id="6" creationId="{5C4DDACF-B82D-7787-2772-A2C24D1C9EE4}"/>
          </ac:picMkLst>
        </pc:picChg>
      </pc:sldChg>
      <pc:sldChg chg="addSp delSp modSp add mod ord">
        <pc:chgData name="Clark, Connie" userId="73351e60-ad32-4085-a232-1d9f9b189479" providerId="ADAL" clId="{EB13EEFD-4832-4936-8AD0-2E3F08493BC6}" dt="2024-04-19T15:04:16.276" v="2532" actId="2"/>
        <pc:sldMkLst>
          <pc:docMk/>
          <pc:sldMk cId="1753614200" sldId="350"/>
        </pc:sldMkLst>
        <pc:spChg chg="mod">
          <ac:chgData name="Clark, Connie" userId="73351e60-ad32-4085-a232-1d9f9b189479" providerId="ADAL" clId="{EB13EEFD-4832-4936-8AD0-2E3F08493BC6}" dt="2024-04-19T15:04:13.275" v="2530" actId="2"/>
          <ac:spMkLst>
            <pc:docMk/>
            <pc:sldMk cId="1753614200" sldId="350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5:10:40.232" v="186" actId="478"/>
          <ac:spMkLst>
            <pc:docMk/>
            <pc:sldMk cId="1753614200" sldId="350"/>
            <ac:spMk id="3" creationId="{109BFDE2-E030-82A9-4605-3C33B808301F}"/>
          </ac:spMkLst>
        </pc:spChg>
        <pc:spChg chg="add mod">
          <ac:chgData name="Clark, Connie" userId="73351e60-ad32-4085-a232-1d9f9b189479" providerId="ADAL" clId="{EB13EEFD-4832-4936-8AD0-2E3F08493BC6}" dt="2024-04-19T15:04:15.152" v="2531" actId="2"/>
          <ac:spMkLst>
            <pc:docMk/>
            <pc:sldMk cId="1753614200" sldId="350"/>
            <ac:spMk id="4" creationId="{24860C5B-157D-2E37-2C44-8D375F0E860A}"/>
          </ac:spMkLst>
        </pc:spChg>
        <pc:spChg chg="add mod">
          <ac:chgData name="Clark, Connie" userId="73351e60-ad32-4085-a232-1d9f9b189479" providerId="ADAL" clId="{EB13EEFD-4832-4936-8AD0-2E3F08493BC6}" dt="2024-04-18T23:58:17.375" v="1224" actId="1076"/>
          <ac:spMkLst>
            <pc:docMk/>
            <pc:sldMk cId="1753614200" sldId="350"/>
            <ac:spMk id="5" creationId="{A5E7910B-8D59-FC74-4155-AC9C77876AD0}"/>
          </ac:spMkLst>
        </pc:spChg>
        <pc:spChg chg="add mod">
          <ac:chgData name="Clark, Connie" userId="73351e60-ad32-4085-a232-1d9f9b189479" providerId="ADAL" clId="{EB13EEFD-4832-4936-8AD0-2E3F08493BC6}" dt="2024-04-19T15:04:16.276" v="2532" actId="2"/>
          <ac:spMkLst>
            <pc:docMk/>
            <pc:sldMk cId="1753614200" sldId="350"/>
            <ac:spMk id="6" creationId="{6B21FD5B-8F3B-0479-0EAC-CB8194A95231}"/>
          </ac:spMkLst>
        </pc:spChg>
        <pc:spChg chg="add mod">
          <ac:chgData name="Clark, Connie" userId="73351e60-ad32-4085-a232-1d9f9b189479" providerId="ADAL" clId="{EB13EEFD-4832-4936-8AD0-2E3F08493BC6}" dt="2024-04-18T15:10:25.664" v="184" actId="1076"/>
          <ac:spMkLst>
            <pc:docMk/>
            <pc:sldMk cId="1753614200" sldId="350"/>
            <ac:spMk id="7" creationId="{0468AE96-3456-02BA-282C-DA628E7D9D20}"/>
          </ac:spMkLst>
        </pc:spChg>
        <pc:spChg chg="add mod">
          <ac:chgData name="Clark, Connie" userId="73351e60-ad32-4085-a232-1d9f9b189479" providerId="ADAL" clId="{EB13EEFD-4832-4936-8AD0-2E3F08493BC6}" dt="2024-04-18T15:10:54.857" v="188" actId="14100"/>
          <ac:spMkLst>
            <pc:docMk/>
            <pc:sldMk cId="1753614200" sldId="350"/>
            <ac:spMk id="8" creationId="{4A15EF59-F678-62EA-2289-3B0F4C7E7239}"/>
          </ac:spMkLst>
        </pc:spChg>
        <pc:spChg chg="add mod">
          <ac:chgData name="Clark, Connie" userId="73351e60-ad32-4085-a232-1d9f9b189479" providerId="ADAL" clId="{EB13EEFD-4832-4936-8AD0-2E3F08493BC6}" dt="2024-04-18T15:11:10.013" v="190" actId="14100"/>
          <ac:spMkLst>
            <pc:docMk/>
            <pc:sldMk cId="1753614200" sldId="350"/>
            <ac:spMk id="9" creationId="{E078B2E8-0C86-CA48-E16C-F6F6DDB9B653}"/>
          </ac:spMkLst>
        </pc:spChg>
        <pc:spChg chg="add mod">
          <ac:chgData name="Clark, Connie" userId="73351e60-ad32-4085-a232-1d9f9b189479" providerId="ADAL" clId="{EB13EEFD-4832-4936-8AD0-2E3F08493BC6}" dt="2024-04-18T15:10:25.664" v="184" actId="1076"/>
          <ac:spMkLst>
            <pc:docMk/>
            <pc:sldMk cId="1753614200" sldId="350"/>
            <ac:spMk id="10" creationId="{66273C7C-C2BB-6ED7-A772-2B75E51F3122}"/>
          </ac:spMkLst>
        </pc:spChg>
        <pc:spChg chg="add mod">
          <ac:chgData name="Clark, Connie" userId="73351e60-ad32-4085-a232-1d9f9b189479" providerId="ADAL" clId="{EB13EEFD-4832-4936-8AD0-2E3F08493BC6}" dt="2024-04-18T23:58:52.743" v="1233" actId="20577"/>
          <ac:spMkLst>
            <pc:docMk/>
            <pc:sldMk cId="1753614200" sldId="350"/>
            <ac:spMk id="11" creationId="{2FC82AA4-AF20-486C-BF8E-87928A640DC3}"/>
          </ac:spMkLst>
        </pc:spChg>
        <pc:spChg chg="add mod">
          <ac:chgData name="Clark, Connie" userId="73351e60-ad32-4085-a232-1d9f9b189479" providerId="ADAL" clId="{EB13EEFD-4832-4936-8AD0-2E3F08493BC6}" dt="2024-04-18T15:11:56.099" v="195" actId="14100"/>
          <ac:spMkLst>
            <pc:docMk/>
            <pc:sldMk cId="1753614200" sldId="350"/>
            <ac:spMk id="12" creationId="{5398129B-DF38-0FD6-9A88-240D79292336}"/>
          </ac:spMkLst>
        </pc:spChg>
        <pc:spChg chg="add mod">
          <ac:chgData name="Clark, Connie" userId="73351e60-ad32-4085-a232-1d9f9b189479" providerId="ADAL" clId="{EB13EEFD-4832-4936-8AD0-2E3F08493BC6}" dt="2024-04-18T15:12:00.586" v="196" actId="14100"/>
          <ac:spMkLst>
            <pc:docMk/>
            <pc:sldMk cId="1753614200" sldId="350"/>
            <ac:spMk id="13" creationId="{B3695ACB-DF06-718C-959F-0A7232AC0BF9}"/>
          </ac:spMkLst>
        </pc:spChg>
        <pc:spChg chg="add del mod">
          <ac:chgData name="Clark, Connie" userId="73351e60-ad32-4085-a232-1d9f9b189479" providerId="ADAL" clId="{EB13EEFD-4832-4936-8AD0-2E3F08493BC6}" dt="2024-04-18T15:11:20.874" v="192" actId="478"/>
          <ac:spMkLst>
            <pc:docMk/>
            <pc:sldMk cId="1753614200" sldId="350"/>
            <ac:spMk id="14" creationId="{54843553-37A0-CBF6-7918-055D3CE3B989}"/>
          </ac:spMkLst>
        </pc:spChg>
      </pc:sldChg>
      <pc:sldChg chg="addSp delSp modSp add mod ord">
        <pc:chgData name="Clark, Connie" userId="73351e60-ad32-4085-a232-1d9f9b189479" providerId="ADAL" clId="{EB13EEFD-4832-4936-8AD0-2E3F08493BC6}" dt="2024-04-19T15:03:41.888" v="2512" actId="313"/>
        <pc:sldMkLst>
          <pc:docMk/>
          <pc:sldMk cId="4044537469" sldId="351"/>
        </pc:sldMkLst>
        <pc:spChg chg="mod">
          <ac:chgData name="Clark, Connie" userId="73351e60-ad32-4085-a232-1d9f9b189479" providerId="ADAL" clId="{EB13EEFD-4832-4936-8AD0-2E3F08493BC6}" dt="2024-04-18T23:07:16.955" v="1069" actId="1076"/>
          <ac:spMkLst>
            <pc:docMk/>
            <pc:sldMk cId="4044537469" sldId="351"/>
            <ac:spMk id="2" creationId="{5E244D7F-32BF-C810-D8B7-E1D120F6465F}"/>
          </ac:spMkLst>
        </pc:spChg>
        <pc:spChg chg="add mod">
          <ac:chgData name="Clark, Connie" userId="73351e60-ad32-4085-a232-1d9f9b189479" providerId="ADAL" clId="{EB13EEFD-4832-4936-8AD0-2E3F08493BC6}" dt="2024-04-18T23:07:53.104" v="1071" actId="1076"/>
          <ac:spMkLst>
            <pc:docMk/>
            <pc:sldMk cId="4044537469" sldId="351"/>
            <ac:spMk id="3" creationId="{A9C0A0E4-48E6-47E3-7070-8B616876DEB6}"/>
          </ac:spMkLst>
        </pc:spChg>
        <pc:spChg chg="add del mod">
          <ac:chgData name="Clark, Connie" userId="73351e60-ad32-4085-a232-1d9f9b189479" providerId="ADAL" clId="{EB13EEFD-4832-4936-8AD0-2E3F08493BC6}" dt="2024-04-18T23:48:02.142" v="1138" actId="478"/>
          <ac:spMkLst>
            <pc:docMk/>
            <pc:sldMk cId="4044537469" sldId="351"/>
            <ac:spMk id="6" creationId="{161790C3-E09C-0D77-FC75-53258E4D8689}"/>
          </ac:spMkLst>
        </pc:spChg>
        <pc:spChg chg="add del mod">
          <ac:chgData name="Clark, Connie" userId="73351e60-ad32-4085-a232-1d9f9b189479" providerId="ADAL" clId="{EB13EEFD-4832-4936-8AD0-2E3F08493BC6}" dt="2024-04-18T23:48:02.142" v="1138" actId="478"/>
          <ac:spMkLst>
            <pc:docMk/>
            <pc:sldMk cId="4044537469" sldId="351"/>
            <ac:spMk id="7" creationId="{26DC92B6-19D6-0678-11F4-02C2686FE915}"/>
          </ac:spMkLst>
        </pc:spChg>
        <pc:spChg chg="add mod">
          <ac:chgData name="Clark, Connie" userId="73351e60-ad32-4085-a232-1d9f9b189479" providerId="ADAL" clId="{EB13EEFD-4832-4936-8AD0-2E3F08493BC6}" dt="2024-04-18T23:48:49.971" v="1169" actId="207"/>
          <ac:spMkLst>
            <pc:docMk/>
            <pc:sldMk cId="4044537469" sldId="351"/>
            <ac:spMk id="10" creationId="{804B0922-3BF5-277D-0A2C-F6AB9FA07459}"/>
          </ac:spMkLst>
        </pc:spChg>
        <pc:spChg chg="add mod">
          <ac:chgData name="Clark, Connie" userId="73351e60-ad32-4085-a232-1d9f9b189479" providerId="ADAL" clId="{EB13EEFD-4832-4936-8AD0-2E3F08493BC6}" dt="2024-04-18T23:48:21.863" v="1168" actId="1036"/>
          <ac:spMkLst>
            <pc:docMk/>
            <pc:sldMk cId="4044537469" sldId="351"/>
            <ac:spMk id="12" creationId="{80CD4412-EB7D-982C-8D5A-494636DEDE5A}"/>
          </ac:spMkLst>
        </pc:spChg>
        <pc:spChg chg="add mod">
          <ac:chgData name="Clark, Connie" userId="73351e60-ad32-4085-a232-1d9f9b189479" providerId="ADAL" clId="{EB13EEFD-4832-4936-8AD0-2E3F08493BC6}" dt="2024-04-19T15:03:41.888" v="2512" actId="313"/>
          <ac:spMkLst>
            <pc:docMk/>
            <pc:sldMk cId="4044537469" sldId="351"/>
            <ac:spMk id="13" creationId="{9C8FE6AD-C641-04C8-8BDE-3B54CCED4A3D}"/>
          </ac:spMkLst>
        </pc:spChg>
        <pc:picChg chg="add del mod">
          <ac:chgData name="Clark, Connie" userId="73351e60-ad32-4085-a232-1d9f9b189479" providerId="ADAL" clId="{EB13EEFD-4832-4936-8AD0-2E3F08493BC6}" dt="2024-04-18T23:07:08.360" v="1068" actId="478"/>
          <ac:picMkLst>
            <pc:docMk/>
            <pc:sldMk cId="4044537469" sldId="351"/>
            <ac:picMk id="4" creationId="{9A7EAC23-6269-1091-F70C-F22AD241E963}"/>
          </ac:picMkLst>
        </pc:picChg>
        <pc:picChg chg="add del mod">
          <ac:chgData name="Clark, Connie" userId="73351e60-ad32-4085-a232-1d9f9b189479" providerId="ADAL" clId="{EB13EEFD-4832-4936-8AD0-2E3F08493BC6}" dt="2024-04-18T23:48:02.142" v="1138" actId="478"/>
          <ac:picMkLst>
            <pc:docMk/>
            <pc:sldMk cId="4044537469" sldId="351"/>
            <ac:picMk id="5" creationId="{A796EE68-DCB4-C6DE-1A29-40291C8D45B0}"/>
          </ac:picMkLst>
        </pc:picChg>
        <pc:picChg chg="add del mod">
          <ac:chgData name="Clark, Connie" userId="73351e60-ad32-4085-a232-1d9f9b189479" providerId="ADAL" clId="{EB13EEFD-4832-4936-8AD0-2E3F08493BC6}" dt="2024-04-18T23:48:02.142" v="1138" actId="478"/>
          <ac:picMkLst>
            <pc:docMk/>
            <pc:sldMk cId="4044537469" sldId="351"/>
            <ac:picMk id="9" creationId="{885768C0-5EA4-5FB5-ED71-9E09162FD928}"/>
          </ac:picMkLst>
        </pc:picChg>
        <pc:picChg chg="add mod">
          <ac:chgData name="Clark, Connie" userId="73351e60-ad32-4085-a232-1d9f9b189479" providerId="ADAL" clId="{EB13EEFD-4832-4936-8AD0-2E3F08493BC6}" dt="2024-04-18T23:48:21.863" v="1168" actId="1036"/>
          <ac:picMkLst>
            <pc:docMk/>
            <pc:sldMk cId="4044537469" sldId="351"/>
            <ac:picMk id="11" creationId="{C2217FA7-09BB-F60A-D92D-3A4970C1B2DB}"/>
          </ac:picMkLst>
        </pc:picChg>
        <pc:picChg chg="add mod">
          <ac:chgData name="Clark, Connie" userId="73351e60-ad32-4085-a232-1d9f9b189479" providerId="ADAL" clId="{EB13EEFD-4832-4936-8AD0-2E3F08493BC6}" dt="2024-04-18T23:49:52.693" v="1170" actId="1440"/>
          <ac:picMkLst>
            <pc:docMk/>
            <pc:sldMk cId="4044537469" sldId="351"/>
            <ac:picMk id="14" creationId="{B4526E27-BFDF-1F41-1929-EF68FE26EF5A}"/>
          </ac:picMkLst>
        </pc:picChg>
      </pc:sldChg>
      <pc:sldChg chg="addSp delSp modSp add del mod ord">
        <pc:chgData name="Clark, Connie" userId="73351e60-ad32-4085-a232-1d9f9b189479" providerId="ADAL" clId="{EB13EEFD-4832-4936-8AD0-2E3F08493BC6}" dt="2024-04-19T01:26:37.672" v="1890" actId="47"/>
        <pc:sldMkLst>
          <pc:docMk/>
          <pc:sldMk cId="3540853060" sldId="352"/>
        </pc:sldMkLst>
        <pc:spChg chg="mod">
          <ac:chgData name="Clark, Connie" userId="73351e60-ad32-4085-a232-1d9f9b189479" providerId="ADAL" clId="{EB13EEFD-4832-4936-8AD0-2E3F08493BC6}" dt="2024-04-19T00:13:09.557" v="1401" actId="1076"/>
          <ac:spMkLst>
            <pc:docMk/>
            <pc:sldMk cId="3540853060" sldId="352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9T00:52:21.563" v="1675" actId="478"/>
          <ac:spMkLst>
            <pc:docMk/>
            <pc:sldMk cId="3540853060" sldId="352"/>
            <ac:spMk id="3" creationId="{4665F2BA-748E-BA0F-922E-66ED83F6EE4D}"/>
          </ac:spMkLst>
        </pc:spChg>
        <pc:spChg chg="add del mod">
          <ac:chgData name="Clark, Connie" userId="73351e60-ad32-4085-a232-1d9f9b189479" providerId="ADAL" clId="{EB13EEFD-4832-4936-8AD0-2E3F08493BC6}" dt="2024-04-18T15:04:58.506" v="142" actId="478"/>
          <ac:spMkLst>
            <pc:docMk/>
            <pc:sldMk cId="3540853060" sldId="352"/>
            <ac:spMk id="4" creationId="{FB1F6F12-6F36-8473-F7D3-D2663F0DED08}"/>
          </ac:spMkLst>
        </pc:spChg>
        <pc:spChg chg="add del mod">
          <ac:chgData name="Clark, Connie" userId="73351e60-ad32-4085-a232-1d9f9b189479" providerId="ADAL" clId="{EB13EEFD-4832-4936-8AD0-2E3F08493BC6}" dt="2024-04-19T00:12:53.626" v="1399" actId="478"/>
          <ac:spMkLst>
            <pc:docMk/>
            <pc:sldMk cId="3540853060" sldId="352"/>
            <ac:spMk id="5" creationId="{7D7F0FDE-5201-DBE8-5084-48F6B6A95AC3}"/>
          </ac:spMkLst>
        </pc:spChg>
        <pc:spChg chg="add del mod">
          <ac:chgData name="Clark, Connie" userId="73351e60-ad32-4085-a232-1d9f9b189479" providerId="ADAL" clId="{EB13EEFD-4832-4936-8AD0-2E3F08493BC6}" dt="2024-04-19T00:51:48.951" v="1673" actId="478"/>
          <ac:spMkLst>
            <pc:docMk/>
            <pc:sldMk cId="3540853060" sldId="352"/>
            <ac:spMk id="6" creationId="{87C4A8A2-284C-F6E9-460E-267BD8C31C8A}"/>
          </ac:spMkLst>
        </pc:spChg>
        <pc:spChg chg="add mod">
          <ac:chgData name="Clark, Connie" userId="73351e60-ad32-4085-a232-1d9f9b189479" providerId="ADAL" clId="{EB13EEFD-4832-4936-8AD0-2E3F08493BC6}" dt="2024-04-19T00:52:13.178" v="1674" actId="1076"/>
          <ac:spMkLst>
            <pc:docMk/>
            <pc:sldMk cId="3540853060" sldId="352"/>
            <ac:spMk id="7" creationId="{EA32CBA0-74A4-630E-9062-5AA6282A8767}"/>
          </ac:spMkLst>
        </pc:spChg>
      </pc:sldChg>
      <pc:sldChg chg="add del">
        <pc:chgData name="Clark, Connie" userId="73351e60-ad32-4085-a232-1d9f9b189479" providerId="ADAL" clId="{EB13EEFD-4832-4936-8AD0-2E3F08493BC6}" dt="2024-04-19T01:54:18.015" v="2319" actId="47"/>
        <pc:sldMkLst>
          <pc:docMk/>
          <pc:sldMk cId="3328452920" sldId="353"/>
        </pc:sldMkLst>
      </pc:sldChg>
      <pc:sldChg chg="addSp delSp modSp add mod">
        <pc:chgData name="Clark, Connie" userId="73351e60-ad32-4085-a232-1d9f9b189479" providerId="ADAL" clId="{EB13EEFD-4832-4936-8AD0-2E3F08493BC6}" dt="2024-04-18T17:03:54.393" v="328" actId="1076"/>
        <pc:sldMkLst>
          <pc:docMk/>
          <pc:sldMk cId="501070420" sldId="354"/>
        </pc:sldMkLst>
        <pc:spChg chg="del mod">
          <ac:chgData name="Clark, Connie" userId="73351e60-ad32-4085-a232-1d9f9b189479" providerId="ADAL" clId="{EB13EEFD-4832-4936-8AD0-2E3F08493BC6}" dt="2024-04-18T16:59:48.547" v="290" actId="26606"/>
          <ac:spMkLst>
            <pc:docMk/>
            <pc:sldMk cId="501070420" sldId="354"/>
            <ac:spMk id="3" creationId="{B391FD0F-17C4-90B9-2BAB-79F9B1DEEE32}"/>
          </ac:spMkLst>
        </pc:spChg>
        <pc:spChg chg="add del mod">
          <ac:chgData name="Clark, Connie" userId="73351e60-ad32-4085-a232-1d9f9b189479" providerId="ADAL" clId="{EB13EEFD-4832-4936-8AD0-2E3F08493BC6}" dt="2024-04-18T16:55:54.824" v="285" actId="478"/>
          <ac:spMkLst>
            <pc:docMk/>
            <pc:sldMk cId="501070420" sldId="354"/>
            <ac:spMk id="4" creationId="{357A1D73-672C-EBE1-8005-DFD632E1F71F}"/>
          </ac:spMkLst>
        </pc:spChg>
        <pc:spChg chg="add del mod">
          <ac:chgData name="Clark, Connie" userId="73351e60-ad32-4085-a232-1d9f9b189479" providerId="ADAL" clId="{EB13EEFD-4832-4936-8AD0-2E3F08493BC6}" dt="2024-04-18T16:55:42.210" v="282" actId="478"/>
          <ac:spMkLst>
            <pc:docMk/>
            <pc:sldMk cId="501070420" sldId="354"/>
            <ac:spMk id="5" creationId="{E13DB24B-811B-5965-D7D4-1CF2ADAA7559}"/>
          </ac:spMkLst>
        </pc:spChg>
        <pc:graphicFrameChg chg="add mod">
          <ac:chgData name="Clark, Connie" userId="73351e60-ad32-4085-a232-1d9f9b189479" providerId="ADAL" clId="{EB13EEFD-4832-4936-8AD0-2E3F08493BC6}" dt="2024-04-18T17:03:54.393" v="328" actId="1076"/>
          <ac:graphicFrameMkLst>
            <pc:docMk/>
            <pc:sldMk cId="501070420" sldId="354"/>
            <ac:graphicFrameMk id="19" creationId="{99B2D63C-5767-72B6-3224-DFD90C0F2EE4}"/>
          </ac:graphicFrameMkLst>
        </pc:graphicFrameChg>
        <pc:picChg chg="add mod">
          <ac:chgData name="Clark, Connie" userId="73351e60-ad32-4085-a232-1d9f9b189479" providerId="ADAL" clId="{EB13EEFD-4832-4936-8AD0-2E3F08493BC6}" dt="2024-04-18T17:03:44.300" v="326" actId="1076"/>
          <ac:picMkLst>
            <pc:docMk/>
            <pc:sldMk cId="501070420" sldId="354"/>
            <ac:picMk id="7" creationId="{69089C3E-BFEC-4AD0-E028-09921CD4B45D}"/>
          </ac:picMkLst>
        </pc:picChg>
        <pc:picChg chg="add mod">
          <ac:chgData name="Clark, Connie" userId="73351e60-ad32-4085-a232-1d9f9b189479" providerId="ADAL" clId="{EB13EEFD-4832-4936-8AD0-2E3F08493BC6}" dt="2024-04-18T17:03:44.300" v="326" actId="1076"/>
          <ac:picMkLst>
            <pc:docMk/>
            <pc:sldMk cId="501070420" sldId="354"/>
            <ac:picMk id="9" creationId="{A06363BF-F45C-7063-0ADC-6D932E49092E}"/>
          </ac:picMkLst>
        </pc:picChg>
        <pc:picChg chg="add mod">
          <ac:chgData name="Clark, Connie" userId="73351e60-ad32-4085-a232-1d9f9b189479" providerId="ADAL" clId="{EB13EEFD-4832-4936-8AD0-2E3F08493BC6}" dt="2024-04-18T17:03:44.300" v="326" actId="1076"/>
          <ac:picMkLst>
            <pc:docMk/>
            <pc:sldMk cId="501070420" sldId="354"/>
            <ac:picMk id="11" creationId="{B3015996-4088-693D-8635-EE42492496EF}"/>
          </ac:picMkLst>
        </pc:picChg>
        <pc:picChg chg="add del mod">
          <ac:chgData name="Clark, Connie" userId="73351e60-ad32-4085-a232-1d9f9b189479" providerId="ADAL" clId="{EB13EEFD-4832-4936-8AD0-2E3F08493BC6}" dt="2024-04-18T17:00:49.377" v="302" actId="478"/>
          <ac:picMkLst>
            <pc:docMk/>
            <pc:sldMk cId="501070420" sldId="354"/>
            <ac:picMk id="13" creationId="{1E7D1CAB-A690-D505-3CF9-E757FC620452}"/>
          </ac:picMkLst>
        </pc:picChg>
        <pc:picChg chg="add del mod">
          <ac:chgData name="Clark, Connie" userId="73351e60-ad32-4085-a232-1d9f9b189479" providerId="ADAL" clId="{EB13EEFD-4832-4936-8AD0-2E3F08493BC6}" dt="2024-04-18T17:00:53.928" v="304" actId="478"/>
          <ac:picMkLst>
            <pc:docMk/>
            <pc:sldMk cId="501070420" sldId="354"/>
            <ac:picMk id="15" creationId="{697E47AB-1F33-57A3-B586-D2A419EB5E4D}"/>
          </ac:picMkLst>
        </pc:picChg>
        <pc:picChg chg="add mod">
          <ac:chgData name="Clark, Connie" userId="73351e60-ad32-4085-a232-1d9f9b189479" providerId="ADAL" clId="{EB13EEFD-4832-4936-8AD0-2E3F08493BC6}" dt="2024-04-18T17:03:44.300" v="326" actId="1076"/>
          <ac:picMkLst>
            <pc:docMk/>
            <pc:sldMk cId="501070420" sldId="354"/>
            <ac:picMk id="17" creationId="{F8386AFE-A9D0-B017-68F4-99A01DD95C93}"/>
          </ac:picMkLst>
        </pc:picChg>
      </pc:sldChg>
      <pc:sldChg chg="addSp delSp modSp add mod delAnim modAnim">
        <pc:chgData name="Clark, Connie" userId="73351e60-ad32-4085-a232-1d9f9b189479" providerId="ADAL" clId="{EB13EEFD-4832-4936-8AD0-2E3F08493BC6}" dt="2024-04-18T17:56:48.223" v="365" actId="1076"/>
        <pc:sldMkLst>
          <pc:docMk/>
          <pc:sldMk cId="1231072277" sldId="355"/>
        </pc:sldMkLst>
        <pc:spChg chg="del">
          <ac:chgData name="Clark, Connie" userId="73351e60-ad32-4085-a232-1d9f9b189479" providerId="ADAL" clId="{EB13EEFD-4832-4936-8AD0-2E3F08493BC6}" dt="2024-04-18T17:55:17.712" v="354" actId="478"/>
          <ac:spMkLst>
            <pc:docMk/>
            <pc:sldMk cId="1231072277" sldId="355"/>
            <ac:spMk id="2" creationId="{5E244D7F-32BF-C810-D8B7-E1D120F6465F}"/>
          </ac:spMkLst>
        </pc:spChg>
        <pc:spChg chg="del">
          <ac:chgData name="Clark, Connie" userId="73351e60-ad32-4085-a232-1d9f9b189479" providerId="ADAL" clId="{EB13EEFD-4832-4936-8AD0-2E3F08493BC6}" dt="2024-04-18T17:55:12.310" v="353" actId="478"/>
          <ac:spMkLst>
            <pc:docMk/>
            <pc:sldMk cId="1231072277" sldId="355"/>
            <ac:spMk id="4" creationId="{2D2E7771-A73F-03C8-7B6A-FA89AE820B74}"/>
          </ac:spMkLst>
        </pc:spChg>
        <pc:spChg chg="add del mod">
          <ac:chgData name="Clark, Connie" userId="73351e60-ad32-4085-a232-1d9f9b189479" providerId="ADAL" clId="{EB13EEFD-4832-4936-8AD0-2E3F08493BC6}" dt="2024-04-18T17:55:48.272" v="359" actId="478"/>
          <ac:spMkLst>
            <pc:docMk/>
            <pc:sldMk cId="1231072277" sldId="355"/>
            <ac:spMk id="6" creationId="{9B941BE8-6BA6-0D90-F90D-5F7C2D2D86DA}"/>
          </ac:spMkLst>
        </pc:spChg>
        <pc:spChg chg="add del mod">
          <ac:chgData name="Clark, Connie" userId="73351e60-ad32-4085-a232-1d9f9b189479" providerId="ADAL" clId="{EB13EEFD-4832-4936-8AD0-2E3F08493BC6}" dt="2024-04-18T17:56:36.733" v="364" actId="478"/>
          <ac:spMkLst>
            <pc:docMk/>
            <pc:sldMk cId="1231072277" sldId="355"/>
            <ac:spMk id="7" creationId="{129A83B7-52D8-E2FF-875E-660623C8D8C8}"/>
          </ac:spMkLst>
        </pc:spChg>
        <pc:picChg chg="del">
          <ac:chgData name="Clark, Connie" userId="73351e60-ad32-4085-a232-1d9f9b189479" providerId="ADAL" clId="{EB13EEFD-4832-4936-8AD0-2E3F08493BC6}" dt="2024-04-18T17:55:12.310" v="353" actId="478"/>
          <ac:picMkLst>
            <pc:docMk/>
            <pc:sldMk cId="1231072277" sldId="355"/>
            <ac:picMk id="5" creationId="{43F31352-4A85-3E2F-9D9E-CC6047D99AC6}"/>
          </ac:picMkLst>
        </pc:picChg>
        <pc:picChg chg="add mod">
          <ac:chgData name="Clark, Connie" userId="73351e60-ad32-4085-a232-1d9f9b189479" providerId="ADAL" clId="{EB13EEFD-4832-4936-8AD0-2E3F08493BC6}" dt="2024-04-18T17:55:38.990" v="357"/>
          <ac:picMkLst>
            <pc:docMk/>
            <pc:sldMk cId="1231072277" sldId="355"/>
            <ac:picMk id="8" creationId="{5AC0F1D2-4596-AAC3-0F94-05CC03678D0C}"/>
          </ac:picMkLst>
        </pc:picChg>
        <pc:picChg chg="add mod">
          <ac:chgData name="Clark, Connie" userId="73351e60-ad32-4085-a232-1d9f9b189479" providerId="ADAL" clId="{EB13EEFD-4832-4936-8AD0-2E3F08493BC6}" dt="2024-04-18T17:56:48.223" v="365" actId="1076"/>
          <ac:picMkLst>
            <pc:docMk/>
            <pc:sldMk cId="1231072277" sldId="355"/>
            <ac:picMk id="10" creationId="{3B18C12C-5CFF-EF10-15DC-F84AC3A0290E}"/>
          </ac:picMkLst>
        </pc:picChg>
      </pc:sldChg>
      <pc:sldChg chg="addSp delSp modSp add mod setBg modAnim">
        <pc:chgData name="Clark, Connie" userId="73351e60-ad32-4085-a232-1d9f9b189479" providerId="ADAL" clId="{EB13EEFD-4832-4936-8AD0-2E3F08493BC6}" dt="2024-04-19T15:02:02.105" v="2478" actId="2"/>
        <pc:sldMkLst>
          <pc:docMk/>
          <pc:sldMk cId="3439872375" sldId="356"/>
        </pc:sldMkLst>
        <pc:spChg chg="mod">
          <ac:chgData name="Clark, Connie" userId="73351e60-ad32-4085-a232-1d9f9b189479" providerId="ADAL" clId="{EB13EEFD-4832-4936-8AD0-2E3F08493BC6}" dt="2024-04-19T15:02:00.260" v="2476" actId="2"/>
          <ac:spMkLst>
            <pc:docMk/>
            <pc:sldMk cId="3439872375" sldId="356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8T18:33:29.917" v="807" actId="478"/>
          <ac:spMkLst>
            <pc:docMk/>
            <pc:sldMk cId="3439872375" sldId="356"/>
            <ac:spMk id="3" creationId="{4FD07054-8ED4-05E2-E7E0-113C1EA3FE33}"/>
          </ac:spMkLst>
        </pc:spChg>
        <pc:spChg chg="del">
          <ac:chgData name="Clark, Connie" userId="73351e60-ad32-4085-a232-1d9f9b189479" providerId="ADAL" clId="{EB13EEFD-4832-4936-8AD0-2E3F08493BC6}" dt="2024-04-18T19:12:37.030" v="1027" actId="478"/>
          <ac:spMkLst>
            <pc:docMk/>
            <pc:sldMk cId="3439872375" sldId="356"/>
            <ac:spMk id="5" creationId="{CC9C1E9E-78C5-A37D-9608-4DEDE450555C}"/>
          </ac:spMkLst>
        </pc:spChg>
        <pc:spChg chg="mod">
          <ac:chgData name="Clark, Connie" userId="73351e60-ad32-4085-a232-1d9f9b189479" providerId="ADAL" clId="{EB13EEFD-4832-4936-8AD0-2E3F08493BC6}" dt="2024-04-18T18:23:47.197" v="740" actId="207"/>
          <ac:spMkLst>
            <pc:docMk/>
            <pc:sldMk cId="3439872375" sldId="356"/>
            <ac:spMk id="6" creationId="{EA7BF0CB-F490-FA95-1BB2-7C4D60D55F8D}"/>
          </ac:spMkLst>
        </pc:spChg>
        <pc:spChg chg="mod">
          <ac:chgData name="Clark, Connie" userId="73351e60-ad32-4085-a232-1d9f9b189479" providerId="ADAL" clId="{EB13EEFD-4832-4936-8AD0-2E3F08493BC6}" dt="2024-04-18T18:22:12.921" v="711" actId="2085"/>
          <ac:spMkLst>
            <pc:docMk/>
            <pc:sldMk cId="3439872375" sldId="356"/>
            <ac:spMk id="7" creationId="{5F92F1D6-588E-FA78-CF26-D08F7494C4F3}"/>
          </ac:spMkLst>
        </pc:spChg>
        <pc:spChg chg="del">
          <ac:chgData name="Clark, Connie" userId="73351e60-ad32-4085-a232-1d9f9b189479" providerId="ADAL" clId="{EB13EEFD-4832-4936-8AD0-2E3F08493BC6}" dt="2024-04-18T18:17:18.025" v="410" actId="478"/>
          <ac:spMkLst>
            <pc:docMk/>
            <pc:sldMk cId="3439872375" sldId="356"/>
            <ac:spMk id="11" creationId="{2A5D4180-773D-384C-DC54-5D075BCD5279}"/>
          </ac:spMkLst>
        </pc:spChg>
        <pc:spChg chg="mod">
          <ac:chgData name="Clark, Connie" userId="73351e60-ad32-4085-a232-1d9f9b189479" providerId="ADAL" clId="{EB13EEFD-4832-4936-8AD0-2E3F08493BC6}" dt="2024-04-18T18:25:59.779" v="746"/>
          <ac:spMkLst>
            <pc:docMk/>
            <pc:sldMk cId="3439872375" sldId="356"/>
            <ac:spMk id="17" creationId="{0C027562-7160-30FB-8527-D748A98F721A}"/>
          </ac:spMkLst>
        </pc:spChg>
        <pc:spChg chg="mod">
          <ac:chgData name="Clark, Connie" userId="73351e60-ad32-4085-a232-1d9f9b189479" providerId="ADAL" clId="{EB13EEFD-4832-4936-8AD0-2E3F08493BC6}" dt="2024-04-18T18:26:49.428" v="755" actId="1076"/>
          <ac:spMkLst>
            <pc:docMk/>
            <pc:sldMk cId="3439872375" sldId="356"/>
            <ac:spMk id="18" creationId="{C1E3020C-8442-BD61-4467-3A94323928F1}"/>
          </ac:spMkLst>
        </pc:spChg>
        <pc:spChg chg="add mod">
          <ac:chgData name="Clark, Connie" userId="73351e60-ad32-4085-a232-1d9f9b189479" providerId="ADAL" clId="{EB13EEFD-4832-4936-8AD0-2E3F08493BC6}" dt="2024-04-19T15:02:01.371" v="2477" actId="2"/>
          <ac:spMkLst>
            <pc:docMk/>
            <pc:sldMk cId="3439872375" sldId="356"/>
            <ac:spMk id="19" creationId="{AB4E26DB-AAE4-FE9E-2A41-680765C206B0}"/>
          </ac:spMkLst>
        </pc:spChg>
        <pc:spChg chg="add mod">
          <ac:chgData name="Clark, Connie" userId="73351e60-ad32-4085-a232-1d9f9b189479" providerId="ADAL" clId="{EB13EEFD-4832-4936-8AD0-2E3F08493BC6}" dt="2024-04-18T18:33:45.935" v="809" actId="14100"/>
          <ac:spMkLst>
            <pc:docMk/>
            <pc:sldMk cId="3439872375" sldId="356"/>
            <ac:spMk id="20" creationId="{3D015D39-5B73-F215-9320-5C1DE25EA428}"/>
          </ac:spMkLst>
        </pc:spChg>
        <pc:spChg chg="add del mod">
          <ac:chgData name="Clark, Connie" userId="73351e60-ad32-4085-a232-1d9f9b189479" providerId="ADAL" clId="{EB13EEFD-4832-4936-8AD0-2E3F08493BC6}" dt="2024-04-18T18:30:55.121" v="789" actId="478"/>
          <ac:spMkLst>
            <pc:docMk/>
            <pc:sldMk cId="3439872375" sldId="356"/>
            <ac:spMk id="23" creationId="{55DAAD2C-375B-88C9-AE27-CE23EED8A431}"/>
          </ac:spMkLst>
        </pc:spChg>
        <pc:spChg chg="add mod">
          <ac:chgData name="Clark, Connie" userId="73351e60-ad32-4085-a232-1d9f9b189479" providerId="ADAL" clId="{EB13EEFD-4832-4936-8AD0-2E3F08493BC6}" dt="2024-04-19T15:02:02.105" v="2478" actId="2"/>
          <ac:spMkLst>
            <pc:docMk/>
            <pc:sldMk cId="3439872375" sldId="356"/>
            <ac:spMk id="25" creationId="{E4BE50FC-4445-4020-B3F0-8744AC6D2A61}"/>
          </ac:spMkLst>
        </pc:spChg>
        <pc:spChg chg="add mod">
          <ac:chgData name="Clark, Connie" userId="73351e60-ad32-4085-a232-1d9f9b189479" providerId="ADAL" clId="{EB13EEFD-4832-4936-8AD0-2E3F08493BC6}" dt="2024-04-18T18:33:45.935" v="809" actId="14100"/>
          <ac:spMkLst>
            <pc:docMk/>
            <pc:sldMk cId="3439872375" sldId="356"/>
            <ac:spMk id="26" creationId="{39DFDE98-54F4-CCFC-3384-7432A3C04613}"/>
          </ac:spMkLst>
        </pc:spChg>
        <pc:spChg chg="add mod">
          <ac:chgData name="Clark, Connie" userId="73351e60-ad32-4085-a232-1d9f9b189479" providerId="ADAL" clId="{EB13EEFD-4832-4936-8AD0-2E3F08493BC6}" dt="2024-04-19T01:19:32.665" v="1866" actId="108"/>
          <ac:spMkLst>
            <pc:docMk/>
            <pc:sldMk cId="3439872375" sldId="356"/>
            <ac:spMk id="27" creationId="{F96AD8BC-86A8-1B06-0A95-6AE3CF77EC31}"/>
          </ac:spMkLst>
        </pc:spChg>
        <pc:spChg chg="add mod">
          <ac:chgData name="Clark, Connie" userId="73351e60-ad32-4085-a232-1d9f9b189479" providerId="ADAL" clId="{EB13EEFD-4832-4936-8AD0-2E3F08493BC6}" dt="2024-04-18T18:34:02.561" v="810" actId="1076"/>
          <ac:spMkLst>
            <pc:docMk/>
            <pc:sldMk cId="3439872375" sldId="356"/>
            <ac:spMk id="28" creationId="{B7605449-49CC-85E3-FCE0-B3D6EEF3F13D}"/>
          </ac:spMkLst>
        </pc:spChg>
        <pc:spChg chg="add mod">
          <ac:chgData name="Clark, Connie" userId="73351e60-ad32-4085-a232-1d9f9b189479" providerId="ADAL" clId="{EB13EEFD-4832-4936-8AD0-2E3F08493BC6}" dt="2024-04-18T18:34:02.561" v="810" actId="1076"/>
          <ac:spMkLst>
            <pc:docMk/>
            <pc:sldMk cId="3439872375" sldId="356"/>
            <ac:spMk id="29" creationId="{B5C19379-E971-543A-C7F1-52087981DD0B}"/>
          </ac:spMkLst>
        </pc:spChg>
        <pc:grpChg chg="add del mod">
          <ac:chgData name="Clark, Connie" userId="73351e60-ad32-4085-a232-1d9f9b189479" providerId="ADAL" clId="{EB13EEFD-4832-4936-8AD0-2E3F08493BC6}" dt="2024-04-18T18:27:21.338" v="763" actId="478"/>
          <ac:grpSpMkLst>
            <pc:docMk/>
            <pc:sldMk cId="3439872375" sldId="356"/>
            <ac:grpSpMk id="4" creationId="{C0ABF475-E557-BE9E-12E1-053CC13AF075}"/>
          </ac:grpSpMkLst>
        </pc:grpChg>
        <pc:grpChg chg="del">
          <ac:chgData name="Clark, Connie" userId="73351e60-ad32-4085-a232-1d9f9b189479" providerId="ADAL" clId="{EB13EEFD-4832-4936-8AD0-2E3F08493BC6}" dt="2024-04-18T18:17:02.745" v="407" actId="478"/>
          <ac:grpSpMkLst>
            <pc:docMk/>
            <pc:sldMk cId="3439872375" sldId="356"/>
            <ac:grpSpMk id="8" creationId="{64467A9F-79D1-18E7-C88F-26F8FDCE2C42}"/>
          </ac:grpSpMkLst>
        </pc:grpChg>
        <pc:grpChg chg="del mod">
          <ac:chgData name="Clark, Connie" userId="73351e60-ad32-4085-a232-1d9f9b189479" providerId="ADAL" clId="{EB13EEFD-4832-4936-8AD0-2E3F08493BC6}" dt="2024-04-18T18:17:24.784" v="412" actId="478"/>
          <ac:grpSpMkLst>
            <pc:docMk/>
            <pc:sldMk cId="3439872375" sldId="356"/>
            <ac:grpSpMk id="12" creationId="{12A2AF3E-11DC-44A4-A906-2B7DD399A5B0}"/>
          </ac:grpSpMkLst>
        </pc:grpChg>
        <pc:grpChg chg="add del mod">
          <ac:chgData name="Clark, Connie" userId="73351e60-ad32-4085-a232-1d9f9b189479" providerId="ADAL" clId="{EB13EEFD-4832-4936-8AD0-2E3F08493BC6}" dt="2024-04-18T18:28:03.112" v="769" actId="478"/>
          <ac:grpSpMkLst>
            <pc:docMk/>
            <pc:sldMk cId="3439872375" sldId="356"/>
            <ac:grpSpMk id="15" creationId="{3BE9A5D3-2979-0443-9A11-15A6E99EBC54}"/>
          </ac:grpSpMkLst>
        </pc:grpChg>
        <pc:picChg chg="mod">
          <ac:chgData name="Clark, Connie" userId="73351e60-ad32-4085-a232-1d9f9b189479" providerId="ADAL" clId="{EB13EEFD-4832-4936-8AD0-2E3F08493BC6}" dt="2024-04-18T18:28:09.318" v="770" actId="1076"/>
          <ac:picMkLst>
            <pc:docMk/>
            <pc:sldMk cId="3439872375" sldId="356"/>
            <ac:picMk id="16" creationId="{70B29824-81FA-E260-0249-55DAC9BE5F96}"/>
          </ac:picMkLst>
        </pc:picChg>
        <pc:picChg chg="del">
          <ac:chgData name="Clark, Connie" userId="73351e60-ad32-4085-a232-1d9f9b189479" providerId="ADAL" clId="{EB13EEFD-4832-4936-8AD0-2E3F08493BC6}" dt="2024-04-18T18:16:59.947" v="406" actId="478"/>
          <ac:picMkLst>
            <pc:docMk/>
            <pc:sldMk cId="3439872375" sldId="356"/>
            <ac:picMk id="22" creationId="{EE5CD629-2E02-66FE-83FF-4AFEDE2A769D}"/>
          </ac:picMkLst>
        </pc:picChg>
        <pc:picChg chg="del">
          <ac:chgData name="Clark, Connie" userId="73351e60-ad32-4085-a232-1d9f9b189479" providerId="ADAL" clId="{EB13EEFD-4832-4936-8AD0-2E3F08493BC6}" dt="2024-04-18T18:16:58.245" v="405" actId="478"/>
          <ac:picMkLst>
            <pc:docMk/>
            <pc:sldMk cId="3439872375" sldId="356"/>
            <ac:picMk id="24" creationId="{298DA9BC-8508-C74A-73B0-2D487CA5D07C}"/>
          </ac:picMkLst>
        </pc:picChg>
      </pc:sldChg>
      <pc:sldChg chg="addSp delSp modSp add mod delAnim">
        <pc:chgData name="Clark, Connie" userId="73351e60-ad32-4085-a232-1d9f9b189479" providerId="ADAL" clId="{EB13EEFD-4832-4936-8AD0-2E3F08493BC6}" dt="2024-04-19T15:03:35.171" v="2510" actId="2"/>
        <pc:sldMkLst>
          <pc:docMk/>
          <pc:sldMk cId="1807202430" sldId="357"/>
        </pc:sldMkLst>
        <pc:spChg chg="del mod">
          <ac:chgData name="Clark, Connie" userId="73351e60-ad32-4085-a232-1d9f9b189479" providerId="ADAL" clId="{EB13EEFD-4832-4936-8AD0-2E3F08493BC6}" dt="2024-04-18T18:39:08.438" v="818" actId="478"/>
          <ac:spMkLst>
            <pc:docMk/>
            <pc:sldMk cId="1807202430" sldId="357"/>
            <ac:spMk id="2" creationId="{5E244D7F-32BF-C810-D8B7-E1D120F6465F}"/>
          </ac:spMkLst>
        </pc:spChg>
        <pc:spChg chg="add mod">
          <ac:chgData name="Clark, Connie" userId="73351e60-ad32-4085-a232-1d9f9b189479" providerId="ADAL" clId="{EB13EEFD-4832-4936-8AD0-2E3F08493BC6}" dt="2024-04-19T13:41:14.348" v="2467" actId="1076"/>
          <ac:spMkLst>
            <pc:docMk/>
            <pc:sldMk cId="1807202430" sldId="357"/>
            <ac:spMk id="2" creationId="{80747C8A-E3C3-318D-C811-BC1D37759745}"/>
          </ac:spMkLst>
        </pc:spChg>
        <pc:spChg chg="add mod">
          <ac:chgData name="Clark, Connie" userId="73351e60-ad32-4085-a232-1d9f9b189479" providerId="ADAL" clId="{EB13EEFD-4832-4936-8AD0-2E3F08493BC6}" dt="2024-04-19T15:02:46.396" v="2487" actId="790"/>
          <ac:spMkLst>
            <pc:docMk/>
            <pc:sldMk cId="1807202430" sldId="357"/>
            <ac:spMk id="3" creationId="{5D5A6C5B-368B-265B-0307-F56D9E4B92F6}"/>
          </ac:spMkLst>
        </pc:spChg>
        <pc:spChg chg="add mod">
          <ac:chgData name="Clark, Connie" userId="73351e60-ad32-4085-a232-1d9f9b189479" providerId="ADAL" clId="{EB13EEFD-4832-4936-8AD0-2E3F08493BC6}" dt="2024-04-19T15:03:35.171" v="2510" actId="2"/>
          <ac:spMkLst>
            <pc:docMk/>
            <pc:sldMk cId="1807202430" sldId="357"/>
            <ac:spMk id="4" creationId="{25BC3EF7-D511-24E0-7520-F37B9E6D7C22}"/>
          </ac:spMkLst>
        </pc:spChg>
        <pc:spChg chg="del mod">
          <ac:chgData name="Clark, Connie" userId="73351e60-ad32-4085-a232-1d9f9b189479" providerId="ADAL" clId="{EB13EEFD-4832-4936-8AD0-2E3F08493BC6}" dt="2024-04-18T19:12:30.598" v="1026" actId="478"/>
          <ac:spMkLst>
            <pc:docMk/>
            <pc:sldMk cId="1807202430" sldId="357"/>
            <ac:spMk id="5" creationId="{CC9C1E9E-78C5-A37D-9608-4DEDE450555C}"/>
          </ac:spMkLst>
        </pc:spChg>
        <pc:spChg chg="add del mod">
          <ac:chgData name="Clark, Connie" userId="73351e60-ad32-4085-a232-1d9f9b189479" providerId="ADAL" clId="{EB13EEFD-4832-4936-8AD0-2E3F08493BC6}" dt="2024-04-18T18:39:10.287" v="819" actId="478"/>
          <ac:spMkLst>
            <pc:docMk/>
            <pc:sldMk cId="1807202430" sldId="357"/>
            <ac:spMk id="7" creationId="{23C7695B-4599-C821-07B5-80F2D8ED3494}"/>
          </ac:spMkLst>
        </pc:spChg>
        <pc:spChg chg="add del mod">
          <ac:chgData name="Clark, Connie" userId="73351e60-ad32-4085-a232-1d9f9b189479" providerId="ADAL" clId="{EB13EEFD-4832-4936-8AD0-2E3F08493BC6}" dt="2024-04-18T18:43:35.956" v="823" actId="478"/>
          <ac:spMkLst>
            <pc:docMk/>
            <pc:sldMk cId="1807202430" sldId="357"/>
            <ac:spMk id="12" creationId="{6A3506EB-3075-2D4C-2E16-AD9409AE91F8}"/>
          </ac:spMkLst>
        </pc:spChg>
        <pc:spChg chg="add mod">
          <ac:chgData name="Clark, Connie" userId="73351e60-ad32-4085-a232-1d9f9b189479" providerId="ADAL" clId="{EB13EEFD-4832-4936-8AD0-2E3F08493BC6}" dt="2024-04-18T18:44:28.924" v="830"/>
          <ac:spMkLst>
            <pc:docMk/>
            <pc:sldMk cId="1807202430" sldId="357"/>
            <ac:spMk id="18" creationId="{59C41694-3CB4-A4E7-68CA-B0AACC645987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19" creationId="{AB4E26DB-AAE4-FE9E-2A41-680765C206B0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20" creationId="{3D015D39-5B73-F215-9320-5C1DE25EA428}"/>
          </ac:spMkLst>
        </pc:spChg>
        <pc:spChg chg="add mod">
          <ac:chgData name="Clark, Connie" userId="73351e60-ad32-4085-a232-1d9f9b189479" providerId="ADAL" clId="{EB13EEFD-4832-4936-8AD0-2E3F08493BC6}" dt="2024-04-18T18:44:28.924" v="830"/>
          <ac:spMkLst>
            <pc:docMk/>
            <pc:sldMk cId="1807202430" sldId="357"/>
            <ac:spMk id="21" creationId="{D40655E4-C4AB-E3BB-0DA0-FB6CC780D8FA}"/>
          </ac:spMkLst>
        </pc:spChg>
        <pc:spChg chg="add mod">
          <ac:chgData name="Clark, Connie" userId="73351e60-ad32-4085-a232-1d9f9b189479" providerId="ADAL" clId="{EB13EEFD-4832-4936-8AD0-2E3F08493BC6}" dt="2024-04-18T18:46:02.167" v="845"/>
          <ac:spMkLst>
            <pc:docMk/>
            <pc:sldMk cId="1807202430" sldId="357"/>
            <ac:spMk id="24" creationId="{F655A972-F87E-8862-7206-78597E044B95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25" creationId="{E4BE50FC-4445-4020-B3F0-8744AC6D2A61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26" creationId="{39DFDE98-54F4-CCFC-3384-7432A3C04613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27" creationId="{F96AD8BC-86A8-1B06-0A95-6AE3CF77EC31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28" creationId="{B7605449-49CC-85E3-FCE0-B3D6EEF3F13D}"/>
          </ac:spMkLst>
        </pc:spChg>
        <pc:spChg chg="del">
          <ac:chgData name="Clark, Connie" userId="73351e60-ad32-4085-a232-1d9f9b189479" providerId="ADAL" clId="{EB13EEFD-4832-4936-8AD0-2E3F08493BC6}" dt="2024-04-18T18:38:53.007" v="814" actId="478"/>
          <ac:spMkLst>
            <pc:docMk/>
            <pc:sldMk cId="1807202430" sldId="357"/>
            <ac:spMk id="29" creationId="{B5C19379-E971-543A-C7F1-52087981DD0B}"/>
          </ac:spMkLst>
        </pc:spChg>
        <pc:spChg chg="add mod">
          <ac:chgData name="Clark, Connie" userId="73351e60-ad32-4085-a232-1d9f9b189479" providerId="ADAL" clId="{EB13EEFD-4832-4936-8AD0-2E3F08493BC6}" dt="2024-04-18T18:46:02.167" v="845"/>
          <ac:spMkLst>
            <pc:docMk/>
            <pc:sldMk cId="1807202430" sldId="357"/>
            <ac:spMk id="30" creationId="{3EEE4DAF-E8D1-9D28-A3B7-8111133C2A65}"/>
          </ac:spMkLst>
        </pc:spChg>
        <pc:grpChg chg="add del mod">
          <ac:chgData name="Clark, Connie" userId="73351e60-ad32-4085-a232-1d9f9b189479" providerId="ADAL" clId="{EB13EEFD-4832-4936-8AD0-2E3F08493BC6}" dt="2024-04-18T18:45:24.541" v="840" actId="478"/>
          <ac:grpSpMkLst>
            <pc:docMk/>
            <pc:sldMk cId="1807202430" sldId="357"/>
            <ac:grpSpMk id="17" creationId="{17D84B94-A37A-888B-D10C-A76A4E050AA7}"/>
          </ac:grpSpMkLst>
        </pc:grpChg>
        <pc:grpChg chg="add del mod">
          <ac:chgData name="Clark, Connie" userId="73351e60-ad32-4085-a232-1d9f9b189479" providerId="ADAL" clId="{EB13EEFD-4832-4936-8AD0-2E3F08493BC6}" dt="2024-04-19T13:41:08.417" v="2466" actId="478"/>
          <ac:grpSpMkLst>
            <pc:docMk/>
            <pc:sldMk cId="1807202430" sldId="357"/>
            <ac:grpSpMk id="23" creationId="{32425A61-3362-F406-43BE-A05995F83BDF}"/>
          </ac:grpSpMkLst>
        </pc:grpChg>
        <pc:graphicFrameChg chg="add del mod modGraphic">
          <ac:chgData name="Clark, Connie" userId="73351e60-ad32-4085-a232-1d9f9b189479" providerId="ADAL" clId="{EB13EEFD-4832-4936-8AD0-2E3F08493BC6}" dt="2024-04-18T18:44:35.711" v="832" actId="478"/>
          <ac:graphicFrameMkLst>
            <pc:docMk/>
            <pc:sldMk cId="1807202430" sldId="357"/>
            <ac:graphicFrameMk id="15" creationId="{6BBB9BEA-C7D2-17F4-1FA0-1ADD2530AD68}"/>
          </ac:graphicFrameMkLst>
        </pc:graphicFrameChg>
        <pc:graphicFrameChg chg="add del mod modGraphic">
          <ac:chgData name="Clark, Connie" userId="73351e60-ad32-4085-a232-1d9f9b189479" providerId="ADAL" clId="{EB13EEFD-4832-4936-8AD0-2E3F08493BC6}" dt="2024-04-18T18:46:08.386" v="849" actId="478"/>
          <ac:graphicFrameMkLst>
            <pc:docMk/>
            <pc:sldMk cId="1807202430" sldId="357"/>
            <ac:graphicFrameMk id="22" creationId="{D5942770-F96F-2847-7C4F-BD45A7839047}"/>
          </ac:graphicFrameMkLst>
        </pc:graphicFrameChg>
        <pc:picChg chg="add del mod">
          <ac:chgData name="Clark, Connie" userId="73351e60-ad32-4085-a232-1d9f9b189479" providerId="ADAL" clId="{EB13EEFD-4832-4936-8AD0-2E3F08493BC6}" dt="2024-04-18T18:43:43.838" v="825" actId="478"/>
          <ac:picMkLst>
            <pc:docMk/>
            <pc:sldMk cId="1807202430" sldId="357"/>
            <ac:picMk id="9" creationId="{59251B60-886E-A6F9-2C09-C5454A036A69}"/>
          </ac:picMkLst>
        </pc:picChg>
        <pc:picChg chg="add del mod">
          <ac:chgData name="Clark, Connie" userId="73351e60-ad32-4085-a232-1d9f9b189479" providerId="ADAL" clId="{EB13EEFD-4832-4936-8AD0-2E3F08493BC6}" dt="2024-04-18T18:43:35.956" v="823" actId="478"/>
          <ac:picMkLst>
            <pc:docMk/>
            <pc:sldMk cId="1807202430" sldId="357"/>
            <ac:picMk id="11" creationId="{640327B3-67E6-002C-F382-8F189761D29D}"/>
          </ac:picMkLst>
        </pc:picChg>
        <pc:picChg chg="add del mod">
          <ac:chgData name="Clark, Connie" userId="73351e60-ad32-4085-a232-1d9f9b189479" providerId="ADAL" clId="{EB13EEFD-4832-4936-8AD0-2E3F08493BC6}" dt="2024-04-18T18:46:05.564" v="847" actId="478"/>
          <ac:picMkLst>
            <pc:docMk/>
            <pc:sldMk cId="1807202430" sldId="357"/>
            <ac:picMk id="14" creationId="{8B5CD8D9-DCB2-FF0F-9339-A1B243A29A94}"/>
          </ac:picMkLst>
        </pc:picChg>
        <pc:picChg chg="del">
          <ac:chgData name="Clark, Connie" userId="73351e60-ad32-4085-a232-1d9f9b189479" providerId="ADAL" clId="{EB13EEFD-4832-4936-8AD0-2E3F08493BC6}" dt="2024-04-18T18:38:53.007" v="814" actId="478"/>
          <ac:picMkLst>
            <pc:docMk/>
            <pc:sldMk cId="1807202430" sldId="357"/>
            <ac:picMk id="16" creationId="{70B29824-81FA-E260-0249-55DAC9BE5F96}"/>
          </ac:picMkLst>
        </pc:picChg>
      </pc:sldChg>
      <pc:sldChg chg="addSp delSp modSp add mod ord">
        <pc:chgData name="Clark, Connie" userId="73351e60-ad32-4085-a232-1d9f9b189479" providerId="ADAL" clId="{EB13EEFD-4832-4936-8AD0-2E3F08493BC6}" dt="2024-04-19T15:03:39.480" v="2511" actId="313"/>
        <pc:sldMkLst>
          <pc:docMk/>
          <pc:sldMk cId="549314908" sldId="358"/>
        </pc:sldMkLst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3" creationId="{C9126544-DFC6-D831-2538-0F6EE3B8DE47}"/>
          </ac:spMkLst>
        </pc:spChg>
        <pc:spChg chg="add mod">
          <ac:chgData name="Clark, Connie" userId="73351e60-ad32-4085-a232-1d9f9b189479" providerId="ADAL" clId="{EB13EEFD-4832-4936-8AD0-2E3F08493BC6}" dt="2024-04-19T15:03:39.480" v="2511" actId="313"/>
          <ac:spMkLst>
            <pc:docMk/>
            <pc:sldMk cId="549314908" sldId="358"/>
            <ac:spMk id="4" creationId="{1D0EBEAC-9640-86CF-7FCD-A8E08BF3C63F}"/>
          </ac:spMkLst>
        </pc:spChg>
        <pc:spChg chg="del mod">
          <ac:chgData name="Clark, Connie" userId="73351e60-ad32-4085-a232-1d9f9b189479" providerId="ADAL" clId="{EB13EEFD-4832-4936-8AD0-2E3F08493BC6}" dt="2024-04-18T18:58:36.567" v="1005" actId="478"/>
          <ac:spMkLst>
            <pc:docMk/>
            <pc:sldMk cId="549314908" sldId="358"/>
            <ac:spMk id="5" creationId="{91696F2C-F9FC-CDF4-9233-FB13E2C3B7A1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6" creationId="{EF21A1A1-D4CF-1473-E1FA-5FA5BE4DC238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7" creationId="{3D86D64D-40AD-7762-83F3-07489368EF04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8" creationId="{2CB7445D-C456-4E61-A8F7-6BF85AE26803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9" creationId="{CA50B715-CAE3-EA50-385A-A274ECDFC529}"/>
          </ac:spMkLst>
        </pc:spChg>
        <pc:spChg chg="add del mod">
          <ac:chgData name="Clark, Connie" userId="73351e60-ad32-4085-a232-1d9f9b189479" providerId="ADAL" clId="{EB13EEFD-4832-4936-8AD0-2E3F08493BC6}" dt="2024-04-18T18:57:38.846" v="1000" actId="478"/>
          <ac:spMkLst>
            <pc:docMk/>
            <pc:sldMk cId="549314908" sldId="358"/>
            <ac:spMk id="10" creationId="{8A8F5718-A14D-A197-4B52-F6F1EE76E4F1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11" creationId="{588B3013-0BAE-98F7-252E-5B09BC8AF8F9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12" creationId="{34BF11CB-6E5F-2BFD-A0DC-E40DE9CC2D9D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13" creationId="{379B139F-808E-2BDF-869E-A85644BB1E5A}"/>
          </ac:spMkLst>
        </pc:spChg>
        <pc:spChg chg="del">
          <ac:chgData name="Clark, Connie" userId="73351e60-ad32-4085-a232-1d9f9b189479" providerId="ADAL" clId="{EB13EEFD-4832-4936-8AD0-2E3F08493BC6}" dt="2024-04-18T18:55:19.954" v="991" actId="478"/>
          <ac:spMkLst>
            <pc:docMk/>
            <pc:sldMk cId="549314908" sldId="358"/>
            <ac:spMk id="14" creationId="{162E8154-658D-F1E9-C69C-212A7566923F}"/>
          </ac:spMkLst>
        </pc:spChg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15" creationId="{8BB6BF1A-6109-AA2D-7392-FBE514D19ECF}"/>
          </ac:spMkLst>
        </pc:spChg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16" creationId="{23544554-86C5-FD12-5A73-7A213B3AEFE8}"/>
          </ac:spMkLst>
        </pc:spChg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17" creationId="{A4B24EF9-C145-8681-99F9-DA356247DF48}"/>
          </ac:spMkLst>
        </pc:spChg>
        <pc:spChg chg="add del mod">
          <ac:chgData name="Clark, Connie" userId="73351e60-ad32-4085-a232-1d9f9b189479" providerId="ADAL" clId="{EB13EEFD-4832-4936-8AD0-2E3F08493BC6}" dt="2024-04-18T18:57:38.846" v="1000" actId="478"/>
          <ac:spMkLst>
            <pc:docMk/>
            <pc:sldMk cId="549314908" sldId="358"/>
            <ac:spMk id="18" creationId="{8C15ABC4-0C1A-331F-3350-FD235D6F3874}"/>
          </ac:spMkLst>
        </pc:spChg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19" creationId="{B4130379-32A7-DDB7-1D08-5EAEB8450FB5}"/>
          </ac:spMkLst>
        </pc:spChg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22" creationId="{EB91FB08-C2CC-EE33-9D42-FFDDB462D998}"/>
          </ac:spMkLst>
        </pc:spChg>
        <pc:spChg chg="add mod">
          <ac:chgData name="Clark, Connie" userId="73351e60-ad32-4085-a232-1d9f9b189479" providerId="ADAL" clId="{EB13EEFD-4832-4936-8AD0-2E3F08493BC6}" dt="2024-04-18T23:12:12.559" v="1079" actId="207"/>
          <ac:spMkLst>
            <pc:docMk/>
            <pc:sldMk cId="549314908" sldId="358"/>
            <ac:spMk id="23" creationId="{1FE23A5D-7557-3370-4F9E-2E1C591C5E35}"/>
          </ac:spMkLst>
        </pc:spChg>
        <pc:spChg chg="add mod">
          <ac:chgData name="Clark, Connie" userId="73351e60-ad32-4085-a232-1d9f9b189479" providerId="ADAL" clId="{EB13EEFD-4832-4936-8AD0-2E3F08493BC6}" dt="2024-04-19T00:52:40.374" v="1677" actId="1036"/>
          <ac:spMkLst>
            <pc:docMk/>
            <pc:sldMk cId="549314908" sldId="358"/>
            <ac:spMk id="24" creationId="{F65D233F-5D82-F5F0-6AEE-895DDE3C26D1}"/>
          </ac:spMkLst>
        </pc:spChg>
        <pc:spChg chg="add mod">
          <ac:chgData name="Clark, Connie" userId="73351e60-ad32-4085-a232-1d9f9b189479" providerId="ADAL" clId="{EB13EEFD-4832-4936-8AD0-2E3F08493BC6}" dt="2024-04-18T23:15:33.434" v="1100" actId="207"/>
          <ac:spMkLst>
            <pc:docMk/>
            <pc:sldMk cId="549314908" sldId="358"/>
            <ac:spMk id="30" creationId="{D44FC7F2-3307-33BF-0F91-725D026869DA}"/>
          </ac:spMkLst>
        </pc:spChg>
        <pc:spChg chg="add mod">
          <ac:chgData name="Clark, Connie" userId="73351e60-ad32-4085-a232-1d9f9b189479" providerId="ADAL" clId="{EB13EEFD-4832-4936-8AD0-2E3F08493BC6}" dt="2024-04-18T23:15:57.217" v="1104" actId="1076"/>
          <ac:spMkLst>
            <pc:docMk/>
            <pc:sldMk cId="549314908" sldId="358"/>
            <ac:spMk id="35" creationId="{CC4ABF09-B60E-4C21-B6E4-42F3726ED623}"/>
          </ac:spMkLst>
        </pc:spChg>
        <pc:picChg chg="add mod">
          <ac:chgData name="Clark, Connie" userId="73351e60-ad32-4085-a232-1d9f9b189479" providerId="ADAL" clId="{EB13EEFD-4832-4936-8AD0-2E3F08493BC6}" dt="2024-04-18T18:58:29.031" v="1003" actId="1076"/>
          <ac:picMkLst>
            <pc:docMk/>
            <pc:sldMk cId="549314908" sldId="358"/>
            <ac:picMk id="20" creationId="{6C701025-96A0-1244-2422-3B5D7F93A3D1}"/>
          </ac:picMkLst>
        </pc:picChg>
        <pc:picChg chg="add mod">
          <ac:chgData name="Clark, Connie" userId="73351e60-ad32-4085-a232-1d9f9b189479" providerId="ADAL" clId="{EB13EEFD-4832-4936-8AD0-2E3F08493BC6}" dt="2024-04-18T18:58:29.031" v="1003" actId="1076"/>
          <ac:picMkLst>
            <pc:docMk/>
            <pc:sldMk cId="549314908" sldId="358"/>
            <ac:picMk id="21" creationId="{E1DE5C6F-389F-8647-08B7-AF04489FDA28}"/>
          </ac:picMkLst>
        </pc:picChg>
        <pc:picChg chg="del">
          <ac:chgData name="Clark, Connie" userId="73351e60-ad32-4085-a232-1d9f9b189479" providerId="ADAL" clId="{EB13EEFD-4832-4936-8AD0-2E3F08493BC6}" dt="2024-04-18T18:57:38.846" v="1000" actId="478"/>
          <ac:picMkLst>
            <pc:docMk/>
            <pc:sldMk cId="549314908" sldId="358"/>
            <ac:picMk id="26" creationId="{376F8DBE-DB2C-EDFC-94ED-04A5A26FD4CF}"/>
          </ac:picMkLst>
        </pc:picChg>
        <pc:picChg chg="add del mod">
          <ac:chgData name="Clark, Connie" userId="73351e60-ad32-4085-a232-1d9f9b189479" providerId="ADAL" clId="{EB13EEFD-4832-4936-8AD0-2E3F08493BC6}" dt="2024-04-18T23:15:15.237" v="1099" actId="478"/>
          <ac:picMkLst>
            <pc:docMk/>
            <pc:sldMk cId="549314908" sldId="358"/>
            <ac:picMk id="27" creationId="{589AC84E-C9DD-B440-1E24-8C51E8D5F2BE}"/>
          </ac:picMkLst>
        </pc:picChg>
        <pc:picChg chg="del">
          <ac:chgData name="Clark, Connie" userId="73351e60-ad32-4085-a232-1d9f9b189479" providerId="ADAL" clId="{EB13EEFD-4832-4936-8AD0-2E3F08493BC6}" dt="2024-04-18T18:57:38.846" v="1000" actId="478"/>
          <ac:picMkLst>
            <pc:docMk/>
            <pc:sldMk cId="549314908" sldId="358"/>
            <ac:picMk id="28" creationId="{166C8591-019F-E51C-71FD-04568683E8CB}"/>
          </ac:picMkLst>
        </pc:picChg>
        <pc:picChg chg="mod">
          <ac:chgData name="Clark, Connie" userId="73351e60-ad32-4085-a232-1d9f9b189479" providerId="ADAL" clId="{EB13EEFD-4832-4936-8AD0-2E3F08493BC6}" dt="2024-04-18T23:46:39.164" v="1135" actId="14100"/>
          <ac:picMkLst>
            <pc:docMk/>
            <pc:sldMk cId="549314908" sldId="358"/>
            <ac:picMk id="29" creationId="{34DD2E1F-81C5-85A3-E85F-4B7ADCF09BE8}"/>
          </ac:picMkLst>
        </pc:picChg>
        <pc:picChg chg="add mod">
          <ac:chgData name="Clark, Connie" userId="73351e60-ad32-4085-a232-1d9f9b189479" providerId="ADAL" clId="{EB13EEFD-4832-4936-8AD0-2E3F08493BC6}" dt="2024-04-18T23:45:36.954" v="1130" actId="1076"/>
          <ac:picMkLst>
            <pc:docMk/>
            <pc:sldMk cId="549314908" sldId="358"/>
            <ac:picMk id="31" creationId="{0ABB6B87-1C1A-D8FD-5B7F-DC703924FA89}"/>
          </ac:picMkLst>
        </pc:picChg>
        <pc:picChg chg="add mod">
          <ac:chgData name="Clark, Connie" userId="73351e60-ad32-4085-a232-1d9f9b189479" providerId="ADAL" clId="{EB13EEFD-4832-4936-8AD0-2E3F08493BC6}" dt="2024-04-18T23:45:43.404" v="1131" actId="1076"/>
          <ac:picMkLst>
            <pc:docMk/>
            <pc:sldMk cId="549314908" sldId="358"/>
            <ac:picMk id="32" creationId="{DD443646-64D5-74AF-F09E-CBF60807CD99}"/>
          </ac:picMkLst>
        </pc:picChg>
        <pc:picChg chg="add del mod">
          <ac:chgData name="Clark, Connie" userId="73351e60-ad32-4085-a232-1d9f9b189479" providerId="ADAL" clId="{EB13EEFD-4832-4936-8AD0-2E3F08493BC6}" dt="2024-04-18T23:16:13.619" v="1108" actId="478"/>
          <ac:picMkLst>
            <pc:docMk/>
            <pc:sldMk cId="549314908" sldId="358"/>
            <ac:picMk id="33" creationId="{710D942F-BA01-EAE6-A2F8-EECFC15FE621}"/>
          </ac:picMkLst>
        </pc:picChg>
        <pc:picChg chg="add del mod">
          <ac:chgData name="Clark, Connie" userId="73351e60-ad32-4085-a232-1d9f9b189479" providerId="ADAL" clId="{EB13EEFD-4832-4936-8AD0-2E3F08493BC6}" dt="2024-04-18T23:16:15.004" v="1109" actId="478"/>
          <ac:picMkLst>
            <pc:docMk/>
            <pc:sldMk cId="549314908" sldId="358"/>
            <ac:picMk id="34" creationId="{6D15B4C7-542E-8F8E-9A2B-7EC3C31147D6}"/>
          </ac:picMkLst>
        </pc:picChg>
        <pc:picChg chg="add mod">
          <ac:chgData name="Clark, Connie" userId="73351e60-ad32-4085-a232-1d9f9b189479" providerId="ADAL" clId="{EB13EEFD-4832-4936-8AD0-2E3F08493BC6}" dt="2024-04-18T23:16:11.772" v="1107" actId="1076"/>
          <ac:picMkLst>
            <pc:docMk/>
            <pc:sldMk cId="549314908" sldId="358"/>
            <ac:picMk id="36" creationId="{922420B7-F479-6073-5EA9-3DF624D5704D}"/>
          </ac:picMkLst>
        </pc:picChg>
        <pc:picChg chg="add mod">
          <ac:chgData name="Clark, Connie" userId="73351e60-ad32-4085-a232-1d9f9b189479" providerId="ADAL" clId="{EB13EEFD-4832-4936-8AD0-2E3F08493BC6}" dt="2024-04-18T23:17:06.261" v="1117" actId="1076"/>
          <ac:picMkLst>
            <pc:docMk/>
            <pc:sldMk cId="549314908" sldId="358"/>
            <ac:picMk id="37" creationId="{6349790C-5512-D718-AB37-C3FE70D54E49}"/>
          </ac:picMkLst>
        </pc:picChg>
      </pc:sldChg>
      <pc:sldChg chg="addSp delSp modSp add mod modShow">
        <pc:chgData name="Clark, Connie" userId="73351e60-ad32-4085-a232-1d9f9b189479" providerId="ADAL" clId="{EB13EEFD-4832-4936-8AD0-2E3F08493BC6}" dt="2024-04-19T15:02:10.245" v="2482" actId="2"/>
        <pc:sldMkLst>
          <pc:docMk/>
          <pc:sldMk cId="1645180665" sldId="359"/>
        </pc:sldMkLst>
        <pc:spChg chg="mod">
          <ac:chgData name="Clark, Connie" userId="73351e60-ad32-4085-a232-1d9f9b189479" providerId="ADAL" clId="{EB13EEFD-4832-4936-8AD0-2E3F08493BC6}" dt="2024-04-19T15:02:07.711" v="2480" actId="2"/>
          <ac:spMkLst>
            <pc:docMk/>
            <pc:sldMk cId="1645180665" sldId="359"/>
            <ac:spMk id="2" creationId="{5E244D7F-32BF-C810-D8B7-E1D120F6465F}"/>
          </ac:spMkLst>
        </pc:spChg>
        <pc:spChg chg="del">
          <ac:chgData name="Clark, Connie" userId="73351e60-ad32-4085-a232-1d9f9b189479" providerId="ADAL" clId="{EB13EEFD-4832-4936-8AD0-2E3F08493BC6}" dt="2024-04-19T00:37:47.270" v="1575" actId="478"/>
          <ac:spMkLst>
            <pc:docMk/>
            <pc:sldMk cId="1645180665" sldId="359"/>
            <ac:spMk id="3" creationId="{4665F2BA-748E-BA0F-922E-66ED83F6EE4D}"/>
          </ac:spMkLst>
        </pc:spChg>
        <pc:spChg chg="del mod">
          <ac:chgData name="Clark, Connie" userId="73351e60-ad32-4085-a232-1d9f9b189479" providerId="ADAL" clId="{EB13EEFD-4832-4936-8AD0-2E3F08493BC6}" dt="2024-04-19T00:43:37.169" v="1612" actId="478"/>
          <ac:spMkLst>
            <pc:docMk/>
            <pc:sldMk cId="1645180665" sldId="359"/>
            <ac:spMk id="5" creationId="{7D7F0FDE-5201-DBE8-5084-48F6B6A95AC3}"/>
          </ac:spMkLst>
        </pc:spChg>
        <pc:spChg chg="del">
          <ac:chgData name="Clark, Connie" userId="73351e60-ad32-4085-a232-1d9f9b189479" providerId="ADAL" clId="{EB13EEFD-4832-4936-8AD0-2E3F08493BC6}" dt="2024-04-19T00:24:21.268" v="1485" actId="478"/>
          <ac:spMkLst>
            <pc:docMk/>
            <pc:sldMk cId="1645180665" sldId="359"/>
            <ac:spMk id="6" creationId="{87C4A8A2-284C-F6E9-460E-267BD8C31C8A}"/>
          </ac:spMkLst>
        </pc:spChg>
        <pc:spChg chg="add del mod">
          <ac:chgData name="Clark, Connie" userId="73351e60-ad32-4085-a232-1d9f9b189479" providerId="ADAL" clId="{EB13EEFD-4832-4936-8AD0-2E3F08493BC6}" dt="2024-04-19T00:32:30.098" v="1538" actId="478"/>
          <ac:spMkLst>
            <pc:docMk/>
            <pc:sldMk cId="1645180665" sldId="359"/>
            <ac:spMk id="8" creationId="{4D737881-6278-2075-87CA-995C54CF7CE5}"/>
          </ac:spMkLst>
        </pc:spChg>
        <pc:spChg chg="add del mod">
          <ac:chgData name="Clark, Connie" userId="73351e60-ad32-4085-a232-1d9f9b189479" providerId="ADAL" clId="{EB13EEFD-4832-4936-8AD0-2E3F08493BC6}" dt="2024-04-19T00:32:28.231" v="1537" actId="478"/>
          <ac:spMkLst>
            <pc:docMk/>
            <pc:sldMk cId="1645180665" sldId="359"/>
            <ac:spMk id="9" creationId="{56618DB1-E243-0F6E-6587-DDB76E4D83D7}"/>
          </ac:spMkLst>
        </pc:spChg>
        <pc:spChg chg="add del mod">
          <ac:chgData name="Clark, Connie" userId="73351e60-ad32-4085-a232-1d9f9b189479" providerId="ADAL" clId="{EB13EEFD-4832-4936-8AD0-2E3F08493BC6}" dt="2024-04-19T00:33:20.295" v="1543" actId="478"/>
          <ac:spMkLst>
            <pc:docMk/>
            <pc:sldMk cId="1645180665" sldId="359"/>
            <ac:spMk id="10" creationId="{D43E4B42-5B54-777F-BBC6-0E098F5916A9}"/>
          </ac:spMkLst>
        </pc:spChg>
        <pc:spChg chg="add mod">
          <ac:chgData name="Clark, Connie" userId="73351e60-ad32-4085-a232-1d9f9b189479" providerId="ADAL" clId="{EB13EEFD-4832-4936-8AD0-2E3F08493BC6}" dt="2024-04-19T00:29:10.582" v="1518"/>
          <ac:spMkLst>
            <pc:docMk/>
            <pc:sldMk cId="1645180665" sldId="359"/>
            <ac:spMk id="12" creationId="{AEE09FCA-630C-A6EC-AE71-30C8C260631D}"/>
          </ac:spMkLst>
        </pc:spChg>
        <pc:spChg chg="add mod">
          <ac:chgData name="Clark, Connie" userId="73351e60-ad32-4085-a232-1d9f9b189479" providerId="ADAL" clId="{EB13EEFD-4832-4936-8AD0-2E3F08493BC6}" dt="2024-04-19T00:29:10.582" v="1518"/>
          <ac:spMkLst>
            <pc:docMk/>
            <pc:sldMk cId="1645180665" sldId="359"/>
            <ac:spMk id="13" creationId="{2AFC5FE5-4C4E-85C1-8FA8-3EEACD1B10D0}"/>
          </ac:spMkLst>
        </pc:spChg>
        <pc:spChg chg="add mod">
          <ac:chgData name="Clark, Connie" userId="73351e60-ad32-4085-a232-1d9f9b189479" providerId="ADAL" clId="{EB13EEFD-4832-4936-8AD0-2E3F08493BC6}" dt="2024-04-19T00:29:25.223" v="1520"/>
          <ac:spMkLst>
            <pc:docMk/>
            <pc:sldMk cId="1645180665" sldId="359"/>
            <ac:spMk id="15" creationId="{94DF856E-D83F-4F90-1643-814C10B30B3A}"/>
          </ac:spMkLst>
        </pc:spChg>
        <pc:spChg chg="add mod">
          <ac:chgData name="Clark, Connie" userId="73351e60-ad32-4085-a232-1d9f9b189479" providerId="ADAL" clId="{EB13EEFD-4832-4936-8AD0-2E3F08493BC6}" dt="2024-04-19T00:29:25.223" v="1520"/>
          <ac:spMkLst>
            <pc:docMk/>
            <pc:sldMk cId="1645180665" sldId="359"/>
            <ac:spMk id="16" creationId="{B4A53880-73CF-EDD8-D2D1-D4769B91AD91}"/>
          </ac:spMkLst>
        </pc:spChg>
        <pc:spChg chg="add mod">
          <ac:chgData name="Clark, Connie" userId="73351e60-ad32-4085-a232-1d9f9b189479" providerId="ADAL" clId="{EB13EEFD-4832-4936-8AD0-2E3F08493BC6}" dt="2024-04-19T00:29:46.727" v="1522"/>
          <ac:spMkLst>
            <pc:docMk/>
            <pc:sldMk cId="1645180665" sldId="359"/>
            <ac:spMk id="18" creationId="{9079E1C4-5D9E-64A0-4216-0690B7389F69}"/>
          </ac:spMkLst>
        </pc:spChg>
        <pc:spChg chg="add mod">
          <ac:chgData name="Clark, Connie" userId="73351e60-ad32-4085-a232-1d9f9b189479" providerId="ADAL" clId="{EB13EEFD-4832-4936-8AD0-2E3F08493BC6}" dt="2024-04-19T00:29:46.727" v="1522"/>
          <ac:spMkLst>
            <pc:docMk/>
            <pc:sldMk cId="1645180665" sldId="359"/>
            <ac:spMk id="19" creationId="{CB94A1C5-C409-F8ED-64B6-89325CBD8583}"/>
          </ac:spMkLst>
        </pc:spChg>
        <pc:spChg chg="add mod">
          <ac:chgData name="Clark, Connie" userId="73351e60-ad32-4085-a232-1d9f9b189479" providerId="ADAL" clId="{EB13EEFD-4832-4936-8AD0-2E3F08493BC6}" dt="2024-04-19T00:30:03.981" v="1524"/>
          <ac:spMkLst>
            <pc:docMk/>
            <pc:sldMk cId="1645180665" sldId="359"/>
            <ac:spMk id="21" creationId="{114CA0ED-14C1-4F7B-7960-57711029A853}"/>
          </ac:spMkLst>
        </pc:spChg>
        <pc:spChg chg="add mod">
          <ac:chgData name="Clark, Connie" userId="73351e60-ad32-4085-a232-1d9f9b189479" providerId="ADAL" clId="{EB13EEFD-4832-4936-8AD0-2E3F08493BC6}" dt="2024-04-19T00:30:03.981" v="1524"/>
          <ac:spMkLst>
            <pc:docMk/>
            <pc:sldMk cId="1645180665" sldId="359"/>
            <ac:spMk id="22" creationId="{904E74DA-1761-4EC9-CE1F-DF17AE63CD23}"/>
          </ac:spMkLst>
        </pc:spChg>
        <pc:spChg chg="add mod">
          <ac:chgData name="Clark, Connie" userId="73351e60-ad32-4085-a232-1d9f9b189479" providerId="ADAL" clId="{EB13EEFD-4832-4936-8AD0-2E3F08493BC6}" dt="2024-04-19T00:30:21.202" v="1526"/>
          <ac:spMkLst>
            <pc:docMk/>
            <pc:sldMk cId="1645180665" sldId="359"/>
            <ac:spMk id="24" creationId="{19716A18-5F96-8732-FD09-7F06F6E821B7}"/>
          </ac:spMkLst>
        </pc:spChg>
        <pc:spChg chg="add mod">
          <ac:chgData name="Clark, Connie" userId="73351e60-ad32-4085-a232-1d9f9b189479" providerId="ADAL" clId="{EB13EEFD-4832-4936-8AD0-2E3F08493BC6}" dt="2024-04-19T00:30:21.202" v="1526"/>
          <ac:spMkLst>
            <pc:docMk/>
            <pc:sldMk cId="1645180665" sldId="359"/>
            <ac:spMk id="25" creationId="{661D0945-578F-82BD-B2B1-AEE168E2E4EF}"/>
          </ac:spMkLst>
        </pc:spChg>
        <pc:spChg chg="add mod">
          <ac:chgData name="Clark, Connie" userId="73351e60-ad32-4085-a232-1d9f9b189479" providerId="ADAL" clId="{EB13EEFD-4832-4936-8AD0-2E3F08493BC6}" dt="2024-04-19T00:30:34.027" v="1528"/>
          <ac:spMkLst>
            <pc:docMk/>
            <pc:sldMk cId="1645180665" sldId="359"/>
            <ac:spMk id="27" creationId="{10A06CD2-0B0E-3613-FD65-ADA81D6A8803}"/>
          </ac:spMkLst>
        </pc:spChg>
        <pc:spChg chg="add mod">
          <ac:chgData name="Clark, Connie" userId="73351e60-ad32-4085-a232-1d9f9b189479" providerId="ADAL" clId="{EB13EEFD-4832-4936-8AD0-2E3F08493BC6}" dt="2024-04-19T00:30:34.027" v="1528"/>
          <ac:spMkLst>
            <pc:docMk/>
            <pc:sldMk cId="1645180665" sldId="359"/>
            <ac:spMk id="28" creationId="{49094A70-C3A3-FA01-9E71-714E944F53F4}"/>
          </ac:spMkLst>
        </pc:spChg>
        <pc:spChg chg="mod">
          <ac:chgData name="Clark, Connie" userId="73351e60-ad32-4085-a232-1d9f9b189479" providerId="ADAL" clId="{EB13EEFD-4832-4936-8AD0-2E3F08493BC6}" dt="2024-04-19T00:35:08.555" v="1559"/>
          <ac:spMkLst>
            <pc:docMk/>
            <pc:sldMk cId="1645180665" sldId="359"/>
            <ac:spMk id="31" creationId="{A1A39C84-A56B-5F39-5BAF-20FE39BA0FDC}"/>
          </ac:spMkLst>
        </pc:spChg>
        <pc:spChg chg="mod">
          <ac:chgData name="Clark, Connie" userId="73351e60-ad32-4085-a232-1d9f9b189479" providerId="ADAL" clId="{EB13EEFD-4832-4936-8AD0-2E3F08493BC6}" dt="2024-04-19T00:35:08.555" v="1559"/>
          <ac:spMkLst>
            <pc:docMk/>
            <pc:sldMk cId="1645180665" sldId="359"/>
            <ac:spMk id="32" creationId="{0CF6C141-F7C1-532B-D8DB-95EA30D7D02D}"/>
          </ac:spMkLst>
        </pc:spChg>
        <pc:spChg chg="mod">
          <ac:chgData name="Clark, Connie" userId="73351e60-ad32-4085-a232-1d9f9b189479" providerId="ADAL" clId="{EB13EEFD-4832-4936-8AD0-2E3F08493BC6}" dt="2024-04-19T00:35:08.555" v="1559"/>
          <ac:spMkLst>
            <pc:docMk/>
            <pc:sldMk cId="1645180665" sldId="359"/>
            <ac:spMk id="34" creationId="{4A6350BE-4888-9980-8853-926B13220CFC}"/>
          </ac:spMkLst>
        </pc:spChg>
        <pc:spChg chg="mod">
          <ac:chgData name="Clark, Connie" userId="73351e60-ad32-4085-a232-1d9f9b189479" providerId="ADAL" clId="{EB13EEFD-4832-4936-8AD0-2E3F08493BC6}" dt="2024-04-19T00:35:08.555" v="1559"/>
          <ac:spMkLst>
            <pc:docMk/>
            <pc:sldMk cId="1645180665" sldId="359"/>
            <ac:spMk id="35" creationId="{4961826D-B508-49FF-CCE7-831C3C98FF22}"/>
          </ac:spMkLst>
        </pc:spChg>
        <pc:spChg chg="mod">
          <ac:chgData name="Clark, Connie" userId="73351e60-ad32-4085-a232-1d9f9b189479" providerId="ADAL" clId="{EB13EEFD-4832-4936-8AD0-2E3F08493BC6}" dt="2024-04-19T00:35:08.555" v="1559"/>
          <ac:spMkLst>
            <pc:docMk/>
            <pc:sldMk cId="1645180665" sldId="359"/>
            <ac:spMk id="37" creationId="{9C80A498-0764-6D6A-D08A-A716611141E8}"/>
          </ac:spMkLst>
        </pc:spChg>
        <pc:spChg chg="mod">
          <ac:chgData name="Clark, Connie" userId="73351e60-ad32-4085-a232-1d9f9b189479" providerId="ADAL" clId="{EB13EEFD-4832-4936-8AD0-2E3F08493BC6}" dt="2024-04-19T00:35:08.555" v="1559"/>
          <ac:spMkLst>
            <pc:docMk/>
            <pc:sldMk cId="1645180665" sldId="359"/>
            <ac:spMk id="38" creationId="{D2E6B41B-33C3-B5CE-6DD1-295404200884}"/>
          </ac:spMkLst>
        </pc:spChg>
        <pc:spChg chg="mod">
          <ac:chgData name="Clark, Connie" userId="73351e60-ad32-4085-a232-1d9f9b189479" providerId="ADAL" clId="{EB13EEFD-4832-4936-8AD0-2E3F08493BC6}" dt="2024-04-19T00:36:48.241" v="1568"/>
          <ac:spMkLst>
            <pc:docMk/>
            <pc:sldMk cId="1645180665" sldId="359"/>
            <ac:spMk id="41" creationId="{E74F72A0-27F9-7F63-1258-06196A6451ED}"/>
          </ac:spMkLst>
        </pc:spChg>
        <pc:spChg chg="mod">
          <ac:chgData name="Clark, Connie" userId="73351e60-ad32-4085-a232-1d9f9b189479" providerId="ADAL" clId="{EB13EEFD-4832-4936-8AD0-2E3F08493BC6}" dt="2024-04-19T00:36:48.241" v="1568"/>
          <ac:spMkLst>
            <pc:docMk/>
            <pc:sldMk cId="1645180665" sldId="359"/>
            <ac:spMk id="42" creationId="{C9024B1D-2FC9-DFDA-7950-909617EE6F5F}"/>
          </ac:spMkLst>
        </pc:spChg>
        <pc:spChg chg="mod">
          <ac:chgData name="Clark, Connie" userId="73351e60-ad32-4085-a232-1d9f9b189479" providerId="ADAL" clId="{EB13EEFD-4832-4936-8AD0-2E3F08493BC6}" dt="2024-04-19T00:36:48.241" v="1568"/>
          <ac:spMkLst>
            <pc:docMk/>
            <pc:sldMk cId="1645180665" sldId="359"/>
            <ac:spMk id="44" creationId="{A23DA4FA-3E8A-08F6-38E5-389F8FC234C2}"/>
          </ac:spMkLst>
        </pc:spChg>
        <pc:spChg chg="mod">
          <ac:chgData name="Clark, Connie" userId="73351e60-ad32-4085-a232-1d9f9b189479" providerId="ADAL" clId="{EB13EEFD-4832-4936-8AD0-2E3F08493BC6}" dt="2024-04-19T00:36:48.241" v="1568"/>
          <ac:spMkLst>
            <pc:docMk/>
            <pc:sldMk cId="1645180665" sldId="359"/>
            <ac:spMk id="45" creationId="{42CA1B29-E79E-6592-D658-7F7292FE3E93}"/>
          </ac:spMkLst>
        </pc:spChg>
        <pc:spChg chg="mod">
          <ac:chgData name="Clark, Connie" userId="73351e60-ad32-4085-a232-1d9f9b189479" providerId="ADAL" clId="{EB13EEFD-4832-4936-8AD0-2E3F08493BC6}" dt="2024-04-19T00:36:48.241" v="1568"/>
          <ac:spMkLst>
            <pc:docMk/>
            <pc:sldMk cId="1645180665" sldId="359"/>
            <ac:spMk id="47" creationId="{D087E81E-D56B-35D0-8E5C-6934443BB9AD}"/>
          </ac:spMkLst>
        </pc:spChg>
        <pc:spChg chg="mod">
          <ac:chgData name="Clark, Connie" userId="73351e60-ad32-4085-a232-1d9f9b189479" providerId="ADAL" clId="{EB13EEFD-4832-4936-8AD0-2E3F08493BC6}" dt="2024-04-19T00:36:48.241" v="1568"/>
          <ac:spMkLst>
            <pc:docMk/>
            <pc:sldMk cId="1645180665" sldId="359"/>
            <ac:spMk id="48" creationId="{B28BF9E3-54CA-2688-D55C-E5CE37DF8A82}"/>
          </ac:spMkLst>
        </pc:spChg>
        <pc:grpChg chg="add del mod">
          <ac:chgData name="Clark, Connie" userId="73351e60-ad32-4085-a232-1d9f9b189479" providerId="ADAL" clId="{EB13EEFD-4832-4936-8AD0-2E3F08493BC6}" dt="2024-04-19T00:35:06.280" v="1558" actId="478"/>
          <ac:grpSpMkLst>
            <pc:docMk/>
            <pc:sldMk cId="1645180665" sldId="359"/>
            <ac:grpSpMk id="11" creationId="{33AEC0A5-039B-1916-EEB4-4F1E0980588D}"/>
          </ac:grpSpMkLst>
        </pc:grpChg>
        <pc:grpChg chg="add del mod">
          <ac:chgData name="Clark, Connie" userId="73351e60-ad32-4085-a232-1d9f9b189479" providerId="ADAL" clId="{EB13EEFD-4832-4936-8AD0-2E3F08493BC6}" dt="2024-04-19T00:35:06.280" v="1558" actId="478"/>
          <ac:grpSpMkLst>
            <pc:docMk/>
            <pc:sldMk cId="1645180665" sldId="359"/>
            <ac:grpSpMk id="14" creationId="{49A4CE69-3698-02A0-5F60-8F484FEC1922}"/>
          </ac:grpSpMkLst>
        </pc:grpChg>
        <pc:grpChg chg="add del mod">
          <ac:chgData name="Clark, Connie" userId="73351e60-ad32-4085-a232-1d9f9b189479" providerId="ADAL" clId="{EB13EEFD-4832-4936-8AD0-2E3F08493BC6}" dt="2024-04-19T00:35:06.280" v="1558" actId="478"/>
          <ac:grpSpMkLst>
            <pc:docMk/>
            <pc:sldMk cId="1645180665" sldId="359"/>
            <ac:grpSpMk id="17" creationId="{AE7E9A0D-2079-8E6A-BFC0-CB7690E395EF}"/>
          </ac:grpSpMkLst>
        </pc:grpChg>
        <pc:grpChg chg="add del mod">
          <ac:chgData name="Clark, Connie" userId="73351e60-ad32-4085-a232-1d9f9b189479" providerId="ADAL" clId="{EB13EEFD-4832-4936-8AD0-2E3F08493BC6}" dt="2024-04-19T00:40:12.559" v="1594" actId="478"/>
          <ac:grpSpMkLst>
            <pc:docMk/>
            <pc:sldMk cId="1645180665" sldId="359"/>
            <ac:grpSpMk id="20" creationId="{0DD7BB1E-D5AE-28B5-2651-50A8771FF9DE}"/>
          </ac:grpSpMkLst>
        </pc:grpChg>
        <pc:grpChg chg="add del mod">
          <ac:chgData name="Clark, Connie" userId="73351e60-ad32-4085-a232-1d9f9b189479" providerId="ADAL" clId="{EB13EEFD-4832-4936-8AD0-2E3F08493BC6}" dt="2024-04-19T00:40:12.559" v="1594" actId="478"/>
          <ac:grpSpMkLst>
            <pc:docMk/>
            <pc:sldMk cId="1645180665" sldId="359"/>
            <ac:grpSpMk id="23" creationId="{832A4748-C5E3-5D75-4B8F-DCC4170EF6A4}"/>
          </ac:grpSpMkLst>
        </pc:grpChg>
        <pc:grpChg chg="add del mod">
          <ac:chgData name="Clark, Connie" userId="73351e60-ad32-4085-a232-1d9f9b189479" providerId="ADAL" clId="{EB13EEFD-4832-4936-8AD0-2E3F08493BC6}" dt="2024-04-19T00:40:12.559" v="1594" actId="478"/>
          <ac:grpSpMkLst>
            <pc:docMk/>
            <pc:sldMk cId="1645180665" sldId="359"/>
            <ac:grpSpMk id="26" creationId="{D11E2F80-9454-70DF-24F7-FA0A1C608E1C}"/>
          </ac:grpSpMkLst>
        </pc:grpChg>
        <pc:grpChg chg="add mod">
          <ac:chgData name="Clark, Connie" userId="73351e60-ad32-4085-a232-1d9f9b189479" providerId="ADAL" clId="{EB13EEFD-4832-4936-8AD0-2E3F08493BC6}" dt="2024-04-19T00:47:52.409" v="1644" actId="1076"/>
          <ac:grpSpMkLst>
            <pc:docMk/>
            <pc:sldMk cId="1645180665" sldId="359"/>
            <ac:grpSpMk id="30" creationId="{95388C5E-1B99-42D7-AF23-B7C0B63C1B43}"/>
          </ac:grpSpMkLst>
        </pc:grpChg>
        <pc:grpChg chg="add mod">
          <ac:chgData name="Clark, Connie" userId="73351e60-ad32-4085-a232-1d9f9b189479" providerId="ADAL" clId="{EB13EEFD-4832-4936-8AD0-2E3F08493BC6}" dt="2024-04-19T00:47:52.409" v="1644" actId="1076"/>
          <ac:grpSpMkLst>
            <pc:docMk/>
            <pc:sldMk cId="1645180665" sldId="359"/>
            <ac:grpSpMk id="33" creationId="{88DD5778-61CE-2F58-1617-956580DA310D}"/>
          </ac:grpSpMkLst>
        </pc:grpChg>
        <pc:grpChg chg="add mod">
          <ac:chgData name="Clark, Connie" userId="73351e60-ad32-4085-a232-1d9f9b189479" providerId="ADAL" clId="{EB13EEFD-4832-4936-8AD0-2E3F08493BC6}" dt="2024-04-19T00:47:52.409" v="1644" actId="1076"/>
          <ac:grpSpMkLst>
            <pc:docMk/>
            <pc:sldMk cId="1645180665" sldId="359"/>
            <ac:grpSpMk id="36" creationId="{12F788E6-FB3F-B6AB-1A20-F3996F38C4D8}"/>
          </ac:grpSpMkLst>
        </pc:grpChg>
        <pc:grpChg chg="add del mod">
          <ac:chgData name="Clark, Connie" userId="73351e60-ad32-4085-a232-1d9f9b189479" providerId="ADAL" clId="{EB13EEFD-4832-4936-8AD0-2E3F08493BC6}" dt="2024-04-19T00:37:42.939" v="1572" actId="478"/>
          <ac:grpSpMkLst>
            <pc:docMk/>
            <pc:sldMk cId="1645180665" sldId="359"/>
            <ac:grpSpMk id="40" creationId="{C42324B8-1BE0-0103-1570-A8F75777A9D4}"/>
          </ac:grpSpMkLst>
        </pc:grpChg>
        <pc:grpChg chg="add del mod">
          <ac:chgData name="Clark, Connie" userId="73351e60-ad32-4085-a232-1d9f9b189479" providerId="ADAL" clId="{EB13EEFD-4832-4936-8AD0-2E3F08493BC6}" dt="2024-04-19T00:37:44.245" v="1573" actId="478"/>
          <ac:grpSpMkLst>
            <pc:docMk/>
            <pc:sldMk cId="1645180665" sldId="359"/>
            <ac:grpSpMk id="43" creationId="{9E126A68-78A1-E10E-5EE5-C7FBE6A6FE8B}"/>
          </ac:grpSpMkLst>
        </pc:grpChg>
        <pc:grpChg chg="add del mod">
          <ac:chgData name="Clark, Connie" userId="73351e60-ad32-4085-a232-1d9f9b189479" providerId="ADAL" clId="{EB13EEFD-4832-4936-8AD0-2E3F08493BC6}" dt="2024-04-19T00:37:45.155" v="1574" actId="478"/>
          <ac:grpSpMkLst>
            <pc:docMk/>
            <pc:sldMk cId="1645180665" sldId="359"/>
            <ac:grpSpMk id="46" creationId="{79E1B201-0083-095D-12BF-5BE73E3073DA}"/>
          </ac:grpSpMkLst>
        </pc:grpChg>
        <pc:graphicFrameChg chg="add del mod modGraphic">
          <ac:chgData name="Clark, Connie" userId="73351e60-ad32-4085-a232-1d9f9b189479" providerId="ADAL" clId="{EB13EEFD-4832-4936-8AD0-2E3F08493BC6}" dt="2024-04-19T00:30:46.911" v="1530" actId="478"/>
          <ac:graphicFrameMkLst>
            <pc:docMk/>
            <pc:sldMk cId="1645180665" sldId="359"/>
            <ac:graphicFrameMk id="4" creationId="{B3AEB60B-5EA0-1B2B-28F1-BA27EE4B852E}"/>
          </ac:graphicFrameMkLst>
        </pc:graphicFrameChg>
        <pc:graphicFrameChg chg="add mod">
          <ac:chgData name="Clark, Connie" userId="73351e60-ad32-4085-a232-1d9f9b189479" providerId="ADAL" clId="{EB13EEFD-4832-4936-8AD0-2E3F08493BC6}" dt="2024-04-19T15:02:10.245" v="2482" actId="2"/>
          <ac:graphicFrameMkLst>
            <pc:docMk/>
            <pc:sldMk cId="1645180665" sldId="359"/>
            <ac:graphicFrameMk id="29" creationId="{217D04CE-AB39-EA32-EB7E-DE97BEEB246E}"/>
          </ac:graphicFrameMkLst>
        </pc:graphicFrameChg>
        <pc:graphicFrameChg chg="add del mod">
          <ac:chgData name="Clark, Connie" userId="73351e60-ad32-4085-a232-1d9f9b189479" providerId="ADAL" clId="{EB13EEFD-4832-4936-8AD0-2E3F08493BC6}" dt="2024-04-19T00:37:40.593" v="1571" actId="478"/>
          <ac:graphicFrameMkLst>
            <pc:docMk/>
            <pc:sldMk cId="1645180665" sldId="359"/>
            <ac:graphicFrameMk id="39" creationId="{884DC5C9-ED77-EE37-2E96-3DEAEBA5A63B}"/>
          </ac:graphicFrameMkLst>
        </pc:graphicFrameChg>
      </pc:sldChg>
      <pc:sldChg chg="addSp delSp modSp add mod modShow">
        <pc:chgData name="Clark, Connie" userId="73351e60-ad32-4085-a232-1d9f9b189479" providerId="ADAL" clId="{EB13EEFD-4832-4936-8AD0-2E3F08493BC6}" dt="2024-04-19T15:02:14.683" v="2486" actId="2"/>
        <pc:sldMkLst>
          <pc:docMk/>
          <pc:sldMk cId="1966008126" sldId="360"/>
        </pc:sldMkLst>
        <pc:spChg chg="mod">
          <ac:chgData name="Clark, Connie" userId="73351e60-ad32-4085-a232-1d9f9b189479" providerId="ADAL" clId="{EB13EEFD-4832-4936-8AD0-2E3F08493BC6}" dt="2024-04-19T15:02:11.896" v="2483" actId="2"/>
          <ac:spMkLst>
            <pc:docMk/>
            <pc:sldMk cId="1966008126" sldId="360"/>
            <ac:spMk id="2" creationId="{5E244D7F-32BF-C810-D8B7-E1D120F6465F}"/>
          </ac:spMkLst>
        </pc:spChg>
        <pc:spChg chg="mod">
          <ac:chgData name="Clark, Connie" userId="73351e60-ad32-4085-a232-1d9f9b189479" providerId="ADAL" clId="{EB13EEFD-4832-4936-8AD0-2E3F08493BC6}" dt="2024-04-19T00:39:23.419" v="1588"/>
          <ac:spMkLst>
            <pc:docMk/>
            <pc:sldMk cId="1966008126" sldId="360"/>
            <ac:spMk id="4" creationId="{41A6DA0F-E080-7654-89A3-7DD62BBF1F3F}"/>
          </ac:spMkLst>
        </pc:spChg>
        <pc:spChg chg="del">
          <ac:chgData name="Clark, Connie" userId="73351e60-ad32-4085-a232-1d9f9b189479" providerId="ADAL" clId="{EB13EEFD-4832-4936-8AD0-2E3F08493BC6}" dt="2024-04-19T00:40:36.186" v="1598" actId="478"/>
          <ac:spMkLst>
            <pc:docMk/>
            <pc:sldMk cId="1966008126" sldId="360"/>
            <ac:spMk id="5" creationId="{7D7F0FDE-5201-DBE8-5084-48F6B6A95AC3}"/>
          </ac:spMkLst>
        </pc:spChg>
        <pc:spChg chg="mod">
          <ac:chgData name="Clark, Connie" userId="73351e60-ad32-4085-a232-1d9f9b189479" providerId="ADAL" clId="{EB13EEFD-4832-4936-8AD0-2E3F08493BC6}" dt="2024-04-19T00:39:23.419" v="1588"/>
          <ac:spMkLst>
            <pc:docMk/>
            <pc:sldMk cId="1966008126" sldId="360"/>
            <ac:spMk id="6" creationId="{D5B2211F-8030-6203-5564-A77029A6FE8F}"/>
          </ac:spMkLst>
        </pc:spChg>
        <pc:spChg chg="mod">
          <ac:chgData name="Clark, Connie" userId="73351e60-ad32-4085-a232-1d9f9b189479" providerId="ADAL" clId="{EB13EEFD-4832-4936-8AD0-2E3F08493BC6}" dt="2024-04-19T00:39:23.419" v="1588"/>
          <ac:spMkLst>
            <pc:docMk/>
            <pc:sldMk cId="1966008126" sldId="360"/>
            <ac:spMk id="8" creationId="{66D93671-D4C8-9AAE-478B-4EFBACDB0C23}"/>
          </ac:spMkLst>
        </pc:spChg>
        <pc:spChg chg="mod">
          <ac:chgData name="Clark, Connie" userId="73351e60-ad32-4085-a232-1d9f9b189479" providerId="ADAL" clId="{EB13EEFD-4832-4936-8AD0-2E3F08493BC6}" dt="2024-04-19T00:39:23.419" v="1588"/>
          <ac:spMkLst>
            <pc:docMk/>
            <pc:sldMk cId="1966008126" sldId="360"/>
            <ac:spMk id="9" creationId="{94A6EF84-62D5-D55E-D522-19D70A85F91E}"/>
          </ac:spMkLst>
        </pc:spChg>
        <pc:spChg chg="mod">
          <ac:chgData name="Clark, Connie" userId="73351e60-ad32-4085-a232-1d9f9b189479" providerId="ADAL" clId="{EB13EEFD-4832-4936-8AD0-2E3F08493BC6}" dt="2024-04-19T00:39:23.419" v="1588"/>
          <ac:spMkLst>
            <pc:docMk/>
            <pc:sldMk cId="1966008126" sldId="360"/>
            <ac:spMk id="11" creationId="{20341866-F487-0A7E-6994-740F41E27E02}"/>
          </ac:spMkLst>
        </pc:spChg>
        <pc:spChg chg="mod">
          <ac:chgData name="Clark, Connie" userId="73351e60-ad32-4085-a232-1d9f9b189479" providerId="ADAL" clId="{EB13EEFD-4832-4936-8AD0-2E3F08493BC6}" dt="2024-04-19T00:39:23.419" v="1588"/>
          <ac:spMkLst>
            <pc:docMk/>
            <pc:sldMk cId="1966008126" sldId="360"/>
            <ac:spMk id="12" creationId="{1BF888F8-4702-CD9D-B106-E30507D57D3D}"/>
          </ac:spMkLst>
        </pc:spChg>
        <pc:spChg chg="mod">
          <ac:chgData name="Clark, Connie" userId="73351e60-ad32-4085-a232-1d9f9b189479" providerId="ADAL" clId="{EB13EEFD-4832-4936-8AD0-2E3F08493BC6}" dt="2024-04-19T00:43:48.255" v="1613"/>
          <ac:spMkLst>
            <pc:docMk/>
            <pc:sldMk cId="1966008126" sldId="360"/>
            <ac:spMk id="14" creationId="{81A8A431-FCA9-B950-B5D5-584A788DC8DD}"/>
          </ac:spMkLst>
        </pc:spChg>
        <pc:spChg chg="mod">
          <ac:chgData name="Clark, Connie" userId="73351e60-ad32-4085-a232-1d9f9b189479" providerId="ADAL" clId="{EB13EEFD-4832-4936-8AD0-2E3F08493BC6}" dt="2024-04-19T00:44:40.374" v="1618"/>
          <ac:spMkLst>
            <pc:docMk/>
            <pc:sldMk cId="1966008126" sldId="360"/>
            <ac:spMk id="15" creationId="{7E2CA43F-709C-5748-506E-C82F409F9D71}"/>
          </ac:spMkLst>
        </pc:spChg>
        <pc:spChg chg="mod">
          <ac:chgData name="Clark, Connie" userId="73351e60-ad32-4085-a232-1d9f9b189479" providerId="ADAL" clId="{EB13EEFD-4832-4936-8AD0-2E3F08493BC6}" dt="2024-04-19T01:01:24.867" v="1747"/>
          <ac:spMkLst>
            <pc:docMk/>
            <pc:sldMk cId="1966008126" sldId="360"/>
            <ac:spMk id="17" creationId="{9E868FFA-9044-DB2E-8426-2A6EDE52B29E}"/>
          </ac:spMkLst>
        </pc:spChg>
        <pc:spChg chg="mod">
          <ac:chgData name="Clark, Connie" userId="73351e60-ad32-4085-a232-1d9f9b189479" providerId="ADAL" clId="{EB13EEFD-4832-4936-8AD0-2E3F08493BC6}" dt="2024-04-19T01:02:10.831" v="1754"/>
          <ac:spMkLst>
            <pc:docMk/>
            <pc:sldMk cId="1966008126" sldId="360"/>
            <ac:spMk id="18" creationId="{13195C32-3693-AC58-4141-CB6EB702D16F}"/>
          </ac:spMkLst>
        </pc:spChg>
        <pc:spChg chg="mod">
          <ac:chgData name="Clark, Connie" userId="73351e60-ad32-4085-a232-1d9f9b189479" providerId="ADAL" clId="{EB13EEFD-4832-4936-8AD0-2E3F08493BC6}" dt="2024-04-19T01:01:24.867" v="1747"/>
          <ac:spMkLst>
            <pc:docMk/>
            <pc:sldMk cId="1966008126" sldId="360"/>
            <ac:spMk id="39" creationId="{80779BF2-419B-A99C-711C-2878A7415AD1}"/>
          </ac:spMkLst>
        </pc:spChg>
        <pc:spChg chg="mod">
          <ac:chgData name="Clark, Connie" userId="73351e60-ad32-4085-a232-1d9f9b189479" providerId="ADAL" clId="{EB13EEFD-4832-4936-8AD0-2E3F08493BC6}" dt="2024-04-19T01:02:24.734" v="1755"/>
          <ac:spMkLst>
            <pc:docMk/>
            <pc:sldMk cId="1966008126" sldId="360"/>
            <ac:spMk id="40" creationId="{250A8506-A52B-835C-3537-9EE22420DDD7}"/>
          </ac:spMkLst>
        </pc:spChg>
        <pc:spChg chg="mod">
          <ac:chgData name="Clark, Connie" userId="73351e60-ad32-4085-a232-1d9f9b189479" providerId="ADAL" clId="{EB13EEFD-4832-4936-8AD0-2E3F08493BC6}" dt="2024-04-19T01:01:24.867" v="1747"/>
          <ac:spMkLst>
            <pc:docMk/>
            <pc:sldMk cId="1966008126" sldId="360"/>
            <ac:spMk id="42" creationId="{D3108185-2A30-1A4E-90C1-4BAABD9F0BB5}"/>
          </ac:spMkLst>
        </pc:spChg>
        <pc:spChg chg="mod">
          <ac:chgData name="Clark, Connie" userId="73351e60-ad32-4085-a232-1d9f9b189479" providerId="ADAL" clId="{EB13EEFD-4832-4936-8AD0-2E3F08493BC6}" dt="2024-04-19T01:02:34.633" v="1756"/>
          <ac:spMkLst>
            <pc:docMk/>
            <pc:sldMk cId="1966008126" sldId="360"/>
            <ac:spMk id="43" creationId="{0E073896-BE74-39DB-1EE2-95AB1548BD54}"/>
          </ac:spMkLst>
        </pc:spChg>
        <pc:grpChg chg="add del mod">
          <ac:chgData name="Clark, Connie" userId="73351e60-ad32-4085-a232-1d9f9b189479" providerId="ADAL" clId="{EB13EEFD-4832-4936-8AD0-2E3F08493BC6}" dt="2024-04-19T01:02:38.772" v="1757" actId="478"/>
          <ac:grpSpMkLst>
            <pc:docMk/>
            <pc:sldMk cId="1966008126" sldId="360"/>
            <ac:grpSpMk id="3" creationId="{0C26FD10-9C15-E23B-6B68-7781505A15A9}"/>
          </ac:grpSpMkLst>
        </pc:grpChg>
        <pc:grpChg chg="add del mod">
          <ac:chgData name="Clark, Connie" userId="73351e60-ad32-4085-a232-1d9f9b189479" providerId="ADAL" clId="{EB13EEFD-4832-4936-8AD0-2E3F08493BC6}" dt="2024-04-19T01:02:38.772" v="1757" actId="478"/>
          <ac:grpSpMkLst>
            <pc:docMk/>
            <pc:sldMk cId="1966008126" sldId="360"/>
            <ac:grpSpMk id="7" creationId="{97D0ED1E-3448-051A-F9D0-3814F8653871}"/>
          </ac:grpSpMkLst>
        </pc:grpChg>
        <pc:grpChg chg="add del mod">
          <ac:chgData name="Clark, Connie" userId="73351e60-ad32-4085-a232-1d9f9b189479" providerId="ADAL" clId="{EB13EEFD-4832-4936-8AD0-2E3F08493BC6}" dt="2024-04-19T01:02:38.772" v="1757" actId="478"/>
          <ac:grpSpMkLst>
            <pc:docMk/>
            <pc:sldMk cId="1966008126" sldId="360"/>
            <ac:grpSpMk id="10" creationId="{9F795A95-87F3-28BF-89DF-F49CCA82A42E}"/>
          </ac:grpSpMkLst>
        </pc:grpChg>
        <pc:grpChg chg="add del mod">
          <ac:chgData name="Clark, Connie" userId="73351e60-ad32-4085-a232-1d9f9b189479" providerId="ADAL" clId="{EB13EEFD-4832-4936-8AD0-2E3F08493BC6}" dt="2024-04-19T01:00:39.091" v="1740" actId="478"/>
          <ac:grpSpMkLst>
            <pc:docMk/>
            <pc:sldMk cId="1966008126" sldId="360"/>
            <ac:grpSpMk id="13" creationId="{5199B885-9FDD-6E8F-9F7B-3D932D9641C3}"/>
          </ac:grpSpMkLst>
        </pc:grpChg>
        <pc:grpChg chg="add mod">
          <ac:chgData name="Clark, Connie" userId="73351e60-ad32-4085-a232-1d9f9b189479" providerId="ADAL" clId="{EB13EEFD-4832-4936-8AD0-2E3F08493BC6}" dt="2024-04-19T01:02:47.170" v="1758" actId="1076"/>
          <ac:grpSpMkLst>
            <pc:docMk/>
            <pc:sldMk cId="1966008126" sldId="360"/>
            <ac:grpSpMk id="16" creationId="{96CF7148-3FD8-1432-563C-1713C8ED6974}"/>
          </ac:grpSpMkLst>
        </pc:grpChg>
        <pc:grpChg chg="add mod">
          <ac:chgData name="Clark, Connie" userId="73351e60-ad32-4085-a232-1d9f9b189479" providerId="ADAL" clId="{EB13EEFD-4832-4936-8AD0-2E3F08493BC6}" dt="2024-04-19T01:02:47.170" v="1758" actId="1076"/>
          <ac:grpSpMkLst>
            <pc:docMk/>
            <pc:sldMk cId="1966008126" sldId="360"/>
            <ac:grpSpMk id="19" creationId="{EB7E3BAD-0B2E-6DC6-941F-45A1CBB2599D}"/>
          </ac:grpSpMkLst>
        </pc:grpChg>
        <pc:grpChg chg="del mod">
          <ac:chgData name="Clark, Connie" userId="73351e60-ad32-4085-a232-1d9f9b189479" providerId="ADAL" clId="{EB13EEFD-4832-4936-8AD0-2E3F08493BC6}" dt="2024-04-19T00:39:22.785" v="1587" actId="478"/>
          <ac:grpSpMkLst>
            <pc:docMk/>
            <pc:sldMk cId="1966008126" sldId="360"/>
            <ac:grpSpMk id="20" creationId="{0DD7BB1E-D5AE-28B5-2651-50A8771FF9DE}"/>
          </ac:grpSpMkLst>
        </pc:grpChg>
        <pc:grpChg chg="del mod">
          <ac:chgData name="Clark, Connie" userId="73351e60-ad32-4085-a232-1d9f9b189479" providerId="ADAL" clId="{EB13EEFD-4832-4936-8AD0-2E3F08493BC6}" dt="2024-04-19T00:39:22.785" v="1587" actId="478"/>
          <ac:grpSpMkLst>
            <pc:docMk/>
            <pc:sldMk cId="1966008126" sldId="360"/>
            <ac:grpSpMk id="23" creationId="{832A4748-C5E3-5D75-4B8F-DCC4170EF6A4}"/>
          </ac:grpSpMkLst>
        </pc:grpChg>
        <pc:grpChg chg="del mod">
          <ac:chgData name="Clark, Connie" userId="73351e60-ad32-4085-a232-1d9f9b189479" providerId="ADAL" clId="{EB13EEFD-4832-4936-8AD0-2E3F08493BC6}" dt="2024-04-19T00:39:22.785" v="1587" actId="478"/>
          <ac:grpSpMkLst>
            <pc:docMk/>
            <pc:sldMk cId="1966008126" sldId="360"/>
            <ac:grpSpMk id="26" creationId="{D11E2F80-9454-70DF-24F7-FA0A1C608E1C}"/>
          </ac:grpSpMkLst>
        </pc:grpChg>
        <pc:grpChg chg="del">
          <ac:chgData name="Clark, Connie" userId="73351e60-ad32-4085-a232-1d9f9b189479" providerId="ADAL" clId="{EB13EEFD-4832-4936-8AD0-2E3F08493BC6}" dt="2024-04-19T00:39:02.592" v="1583" actId="478"/>
          <ac:grpSpMkLst>
            <pc:docMk/>
            <pc:sldMk cId="1966008126" sldId="360"/>
            <ac:grpSpMk id="30" creationId="{95388C5E-1B99-42D7-AF23-B7C0B63C1B43}"/>
          </ac:grpSpMkLst>
        </pc:grpChg>
        <pc:grpChg chg="del">
          <ac:chgData name="Clark, Connie" userId="73351e60-ad32-4085-a232-1d9f9b189479" providerId="ADAL" clId="{EB13EEFD-4832-4936-8AD0-2E3F08493BC6}" dt="2024-04-19T00:39:02.592" v="1583" actId="478"/>
          <ac:grpSpMkLst>
            <pc:docMk/>
            <pc:sldMk cId="1966008126" sldId="360"/>
            <ac:grpSpMk id="33" creationId="{88DD5778-61CE-2F58-1617-956580DA310D}"/>
          </ac:grpSpMkLst>
        </pc:grpChg>
        <pc:grpChg chg="del">
          <ac:chgData name="Clark, Connie" userId="73351e60-ad32-4085-a232-1d9f9b189479" providerId="ADAL" clId="{EB13EEFD-4832-4936-8AD0-2E3F08493BC6}" dt="2024-04-19T00:39:02.592" v="1583" actId="478"/>
          <ac:grpSpMkLst>
            <pc:docMk/>
            <pc:sldMk cId="1966008126" sldId="360"/>
            <ac:grpSpMk id="36" creationId="{12F788E6-FB3F-B6AB-1A20-F3996F38C4D8}"/>
          </ac:grpSpMkLst>
        </pc:grpChg>
        <pc:grpChg chg="add mod">
          <ac:chgData name="Clark, Connie" userId="73351e60-ad32-4085-a232-1d9f9b189479" providerId="ADAL" clId="{EB13EEFD-4832-4936-8AD0-2E3F08493BC6}" dt="2024-04-19T01:02:47.170" v="1758" actId="1076"/>
          <ac:grpSpMkLst>
            <pc:docMk/>
            <pc:sldMk cId="1966008126" sldId="360"/>
            <ac:grpSpMk id="41" creationId="{2C4BD3E4-60AB-9800-1349-2C227ACF3581}"/>
          </ac:grpSpMkLst>
        </pc:grpChg>
        <pc:graphicFrameChg chg="mod">
          <ac:chgData name="Clark, Connie" userId="73351e60-ad32-4085-a232-1d9f9b189479" providerId="ADAL" clId="{EB13EEFD-4832-4936-8AD0-2E3F08493BC6}" dt="2024-04-19T15:02:14.683" v="2486" actId="2"/>
          <ac:graphicFrameMkLst>
            <pc:docMk/>
            <pc:sldMk cId="1966008126" sldId="360"/>
            <ac:graphicFrameMk id="29" creationId="{217D04CE-AB39-EA32-EB7E-DE97BEEB246E}"/>
          </ac:graphicFrameMkLst>
        </pc:graphicFrameChg>
      </pc:sldChg>
      <pc:sldChg chg="addSp delSp modSp add mod modAnim">
        <pc:chgData name="Clark, Connie" userId="73351e60-ad32-4085-a232-1d9f9b189479" providerId="ADAL" clId="{EB13EEFD-4832-4936-8AD0-2E3F08493BC6}" dt="2024-04-19T15:02:04.073" v="2479" actId="2"/>
        <pc:sldMkLst>
          <pc:docMk/>
          <pc:sldMk cId="536736057" sldId="361"/>
        </pc:sldMkLst>
        <pc:spChg chg="mod">
          <ac:chgData name="Clark, Connie" userId="73351e60-ad32-4085-a232-1d9f9b189479" providerId="ADAL" clId="{EB13EEFD-4832-4936-8AD0-2E3F08493BC6}" dt="2024-04-19T15:02:04.073" v="2479" actId="2"/>
          <ac:spMkLst>
            <pc:docMk/>
            <pc:sldMk cId="536736057" sldId="361"/>
            <ac:spMk id="2" creationId="{5E244D7F-32BF-C810-D8B7-E1D120F6465F}"/>
          </ac:spMkLst>
        </pc:spChg>
        <pc:spChg chg="add del mod">
          <ac:chgData name="Clark, Connie" userId="73351e60-ad32-4085-a232-1d9f9b189479" providerId="ADAL" clId="{EB13EEFD-4832-4936-8AD0-2E3F08493BC6}" dt="2024-04-19T01:03:23.675" v="1762" actId="478"/>
          <ac:spMkLst>
            <pc:docMk/>
            <pc:sldMk cId="536736057" sldId="361"/>
            <ac:spMk id="4" creationId="{A59CF152-2013-FBEA-B443-6E091742A5EA}"/>
          </ac:spMkLst>
        </pc:spChg>
        <pc:spChg chg="mod">
          <ac:chgData name="Clark, Connie" userId="73351e60-ad32-4085-a232-1d9f9b189479" providerId="ADAL" clId="{EB13EEFD-4832-4936-8AD0-2E3F08493BC6}" dt="2024-04-19T01:05:00.953" v="1771"/>
          <ac:spMkLst>
            <pc:docMk/>
            <pc:sldMk cId="536736057" sldId="361"/>
            <ac:spMk id="7" creationId="{13F71394-7747-2EE5-CF88-35617CE50EDD}"/>
          </ac:spMkLst>
        </pc:spChg>
        <pc:spChg chg="mod">
          <ac:chgData name="Clark, Connie" userId="73351e60-ad32-4085-a232-1d9f9b189479" providerId="ADAL" clId="{EB13EEFD-4832-4936-8AD0-2E3F08493BC6}" dt="2024-04-19T01:05:00.953" v="1771"/>
          <ac:spMkLst>
            <pc:docMk/>
            <pc:sldMk cId="536736057" sldId="361"/>
            <ac:spMk id="8" creationId="{E61546A2-D7F6-8D7A-50D3-ACD0D1BEA388}"/>
          </ac:spMkLst>
        </pc:spChg>
        <pc:spChg chg="mod">
          <ac:chgData name="Clark, Connie" userId="73351e60-ad32-4085-a232-1d9f9b189479" providerId="ADAL" clId="{EB13EEFD-4832-4936-8AD0-2E3F08493BC6}" dt="2024-04-19T01:05:00.953" v="1771"/>
          <ac:spMkLst>
            <pc:docMk/>
            <pc:sldMk cId="536736057" sldId="361"/>
            <ac:spMk id="10" creationId="{D687D428-BEA3-724B-4ADB-7666C3CDFE5F}"/>
          </ac:spMkLst>
        </pc:spChg>
        <pc:spChg chg="mod">
          <ac:chgData name="Clark, Connie" userId="73351e60-ad32-4085-a232-1d9f9b189479" providerId="ADAL" clId="{EB13EEFD-4832-4936-8AD0-2E3F08493BC6}" dt="2024-04-19T01:05:00.953" v="1771"/>
          <ac:spMkLst>
            <pc:docMk/>
            <pc:sldMk cId="536736057" sldId="361"/>
            <ac:spMk id="11" creationId="{CFD59F3F-C03D-67B8-82A4-5E307D8A2D58}"/>
          </ac:spMkLst>
        </pc:spChg>
        <pc:spChg chg="mod">
          <ac:chgData name="Clark, Connie" userId="73351e60-ad32-4085-a232-1d9f9b189479" providerId="ADAL" clId="{EB13EEFD-4832-4936-8AD0-2E3F08493BC6}" dt="2024-04-19T01:05:00.953" v="1771"/>
          <ac:spMkLst>
            <pc:docMk/>
            <pc:sldMk cId="536736057" sldId="361"/>
            <ac:spMk id="13" creationId="{9234AA6E-E9A7-A0D4-075F-F29248CD5086}"/>
          </ac:spMkLst>
        </pc:spChg>
        <pc:spChg chg="mod">
          <ac:chgData name="Clark, Connie" userId="73351e60-ad32-4085-a232-1d9f9b189479" providerId="ADAL" clId="{EB13EEFD-4832-4936-8AD0-2E3F08493BC6}" dt="2024-04-19T01:05:00.953" v="1771"/>
          <ac:spMkLst>
            <pc:docMk/>
            <pc:sldMk cId="536736057" sldId="361"/>
            <ac:spMk id="14" creationId="{F6B25691-10F8-B5DA-C432-DB0BCBA05B8E}"/>
          </ac:spMkLst>
        </pc:spChg>
        <pc:spChg chg="add del mod">
          <ac:chgData name="Clark, Connie" userId="73351e60-ad32-4085-a232-1d9f9b189479" providerId="ADAL" clId="{EB13EEFD-4832-4936-8AD0-2E3F08493BC6}" dt="2024-04-19T01:12:48.415" v="1828" actId="478"/>
          <ac:spMkLst>
            <pc:docMk/>
            <pc:sldMk cId="536736057" sldId="361"/>
            <ac:spMk id="15" creationId="{194D7B22-C18B-8067-7788-EB401808626B}"/>
          </ac:spMkLst>
        </pc:spChg>
        <pc:spChg chg="add mod">
          <ac:chgData name="Clark, Connie" userId="73351e60-ad32-4085-a232-1d9f9b189479" providerId="ADAL" clId="{EB13EEFD-4832-4936-8AD0-2E3F08493BC6}" dt="2024-04-19T01:14:01.916" v="1849" actId="14100"/>
          <ac:spMkLst>
            <pc:docMk/>
            <pc:sldMk cId="536736057" sldId="361"/>
            <ac:spMk id="16" creationId="{A049BF3F-4EBC-7ABC-881D-78AB221CBD9E}"/>
          </ac:spMkLst>
        </pc:spChg>
        <pc:spChg chg="add mod">
          <ac:chgData name="Clark, Connie" userId="73351e60-ad32-4085-a232-1d9f9b189479" providerId="ADAL" clId="{EB13EEFD-4832-4936-8AD0-2E3F08493BC6}" dt="2024-04-19T01:15:14.621" v="1858" actId="1036"/>
          <ac:spMkLst>
            <pc:docMk/>
            <pc:sldMk cId="536736057" sldId="361"/>
            <ac:spMk id="17" creationId="{E813CA37-EB79-FC6F-9487-DE64890567E5}"/>
          </ac:spMkLst>
        </pc:spChg>
        <pc:spChg chg="add del">
          <ac:chgData name="Clark, Connie" userId="73351e60-ad32-4085-a232-1d9f9b189479" providerId="ADAL" clId="{EB13EEFD-4832-4936-8AD0-2E3F08493BC6}" dt="2024-04-19T01:13:12.179" v="1833" actId="22"/>
          <ac:spMkLst>
            <pc:docMk/>
            <pc:sldMk cId="536736057" sldId="361"/>
            <ac:spMk id="19" creationId="{8A680D45-F99C-EFE1-1689-750B26097840}"/>
          </ac:spMkLst>
        </pc:spChg>
        <pc:spChg chg="add del">
          <ac:chgData name="Clark, Connie" userId="73351e60-ad32-4085-a232-1d9f9b189479" providerId="ADAL" clId="{EB13EEFD-4832-4936-8AD0-2E3F08493BC6}" dt="2024-04-19T01:13:15.449" v="1835" actId="22"/>
          <ac:spMkLst>
            <pc:docMk/>
            <pc:sldMk cId="536736057" sldId="361"/>
            <ac:spMk id="21" creationId="{064DF81E-39D1-11AB-2B2F-8E66DDAAFF20}"/>
          </ac:spMkLst>
        </pc:spChg>
        <pc:spChg chg="add mod">
          <ac:chgData name="Clark, Connie" userId="73351e60-ad32-4085-a232-1d9f9b189479" providerId="ADAL" clId="{EB13EEFD-4832-4936-8AD0-2E3F08493BC6}" dt="2024-04-19T01:24:01.324" v="1881" actId="14100"/>
          <ac:spMkLst>
            <pc:docMk/>
            <pc:sldMk cId="536736057" sldId="361"/>
            <ac:spMk id="23" creationId="{840B81CA-1000-F4C5-3E24-43DA85605608}"/>
          </ac:spMkLst>
        </pc:spChg>
        <pc:grpChg chg="add del mod">
          <ac:chgData name="Clark, Connie" userId="73351e60-ad32-4085-a232-1d9f9b189479" providerId="ADAL" clId="{EB13EEFD-4832-4936-8AD0-2E3F08493BC6}" dt="2024-04-19T01:07:50.776" v="1795" actId="478"/>
          <ac:grpSpMkLst>
            <pc:docMk/>
            <pc:sldMk cId="536736057" sldId="361"/>
            <ac:grpSpMk id="6" creationId="{BF66E6A6-6CF9-3331-73AC-13F9E76F15AF}"/>
          </ac:grpSpMkLst>
        </pc:grpChg>
        <pc:grpChg chg="add del mod">
          <ac:chgData name="Clark, Connie" userId="73351e60-ad32-4085-a232-1d9f9b189479" providerId="ADAL" clId="{EB13EEFD-4832-4936-8AD0-2E3F08493BC6}" dt="2024-04-19T01:07:50.776" v="1795" actId="478"/>
          <ac:grpSpMkLst>
            <pc:docMk/>
            <pc:sldMk cId="536736057" sldId="361"/>
            <ac:grpSpMk id="9" creationId="{22AB8769-BA42-D9DB-0CBA-5544A5D24DEF}"/>
          </ac:grpSpMkLst>
        </pc:grpChg>
        <pc:grpChg chg="add del mod">
          <ac:chgData name="Clark, Connie" userId="73351e60-ad32-4085-a232-1d9f9b189479" providerId="ADAL" clId="{EB13EEFD-4832-4936-8AD0-2E3F08493BC6}" dt="2024-04-19T01:07:50.776" v="1795" actId="478"/>
          <ac:grpSpMkLst>
            <pc:docMk/>
            <pc:sldMk cId="536736057" sldId="361"/>
            <ac:grpSpMk id="12" creationId="{DCE1F12F-57A1-86A1-D2B9-8241BEF8E7E5}"/>
          </ac:grpSpMkLst>
        </pc:grpChg>
        <pc:grpChg chg="del">
          <ac:chgData name="Clark, Connie" userId="73351e60-ad32-4085-a232-1d9f9b189479" providerId="ADAL" clId="{EB13EEFD-4832-4936-8AD0-2E3F08493BC6}" dt="2024-04-19T01:04:50.737" v="1770" actId="478"/>
          <ac:grpSpMkLst>
            <pc:docMk/>
            <pc:sldMk cId="536736057" sldId="361"/>
            <ac:grpSpMk id="30" creationId="{95388C5E-1B99-42D7-AF23-B7C0B63C1B43}"/>
          </ac:grpSpMkLst>
        </pc:grpChg>
        <pc:grpChg chg="del">
          <ac:chgData name="Clark, Connie" userId="73351e60-ad32-4085-a232-1d9f9b189479" providerId="ADAL" clId="{EB13EEFD-4832-4936-8AD0-2E3F08493BC6}" dt="2024-04-19T01:04:50.737" v="1770" actId="478"/>
          <ac:grpSpMkLst>
            <pc:docMk/>
            <pc:sldMk cId="536736057" sldId="361"/>
            <ac:grpSpMk id="33" creationId="{88DD5778-61CE-2F58-1617-956580DA310D}"/>
          </ac:grpSpMkLst>
        </pc:grpChg>
        <pc:grpChg chg="del">
          <ac:chgData name="Clark, Connie" userId="73351e60-ad32-4085-a232-1d9f9b189479" providerId="ADAL" clId="{EB13EEFD-4832-4936-8AD0-2E3F08493BC6}" dt="2024-04-19T01:04:50.737" v="1770" actId="478"/>
          <ac:grpSpMkLst>
            <pc:docMk/>
            <pc:sldMk cId="536736057" sldId="361"/>
            <ac:grpSpMk id="36" creationId="{12F788E6-FB3F-B6AB-1A20-F3996F38C4D8}"/>
          </ac:grpSpMkLst>
        </pc:grpChg>
        <pc:graphicFrameChg chg="add mod modGraphic">
          <ac:chgData name="Clark, Connie" userId="73351e60-ad32-4085-a232-1d9f9b189479" providerId="ADAL" clId="{EB13EEFD-4832-4936-8AD0-2E3F08493BC6}" dt="2024-04-19T01:25:29.499" v="1883"/>
          <ac:graphicFrameMkLst>
            <pc:docMk/>
            <pc:sldMk cId="536736057" sldId="361"/>
            <ac:graphicFrameMk id="5" creationId="{476E3643-427B-DEAC-60FD-B954E5DBA1EC}"/>
          </ac:graphicFrameMkLst>
        </pc:graphicFrameChg>
        <pc:graphicFrameChg chg="del mod">
          <ac:chgData name="Clark, Connie" userId="73351e60-ad32-4085-a232-1d9f9b189479" providerId="ADAL" clId="{EB13EEFD-4832-4936-8AD0-2E3F08493BC6}" dt="2024-04-19T01:03:20.858" v="1761" actId="478"/>
          <ac:graphicFrameMkLst>
            <pc:docMk/>
            <pc:sldMk cId="536736057" sldId="361"/>
            <ac:graphicFrameMk id="29" creationId="{217D04CE-AB39-EA32-EB7E-DE97BEEB246E}"/>
          </ac:graphicFrameMkLst>
        </pc:graphicFrameChg>
        <pc:picChg chg="add mod">
          <ac:chgData name="Clark, Connie" userId="73351e60-ad32-4085-a232-1d9f9b189479" providerId="ADAL" clId="{EB13EEFD-4832-4936-8AD0-2E3F08493BC6}" dt="2024-04-19T01:26:01.838" v="1889" actId="1076"/>
          <ac:picMkLst>
            <pc:docMk/>
            <pc:sldMk cId="536736057" sldId="361"/>
            <ac:picMk id="27" creationId="{DCF88C9E-8E8B-7C16-4153-F4909775B88C}"/>
          </ac:picMkLst>
        </pc:picChg>
        <pc:cxnChg chg="add mod">
          <ac:chgData name="Clark, Connie" userId="73351e60-ad32-4085-a232-1d9f9b189479" providerId="ADAL" clId="{EB13EEFD-4832-4936-8AD0-2E3F08493BC6}" dt="2024-04-19T01:15:10.902" v="1854" actId="1076"/>
          <ac:cxnSpMkLst>
            <pc:docMk/>
            <pc:sldMk cId="536736057" sldId="361"/>
            <ac:cxnSpMk id="25" creationId="{8948A56E-D1E7-FD3E-8B9A-91189F69BEBC}"/>
          </ac:cxnSpMkLst>
        </pc:cxnChg>
      </pc:sldChg>
      <pc:sldChg chg="addSp delSp modSp add mod">
        <pc:chgData name="Clark, Connie" userId="73351e60-ad32-4085-a232-1d9f9b189479" providerId="ADAL" clId="{EB13EEFD-4832-4936-8AD0-2E3F08493BC6}" dt="2024-04-19T03:28:33.743" v="2409" actId="20577"/>
        <pc:sldMkLst>
          <pc:docMk/>
          <pc:sldMk cId="2479349175" sldId="362"/>
        </pc:sldMkLst>
        <pc:spChg chg="del mod">
          <ac:chgData name="Clark, Connie" userId="73351e60-ad32-4085-a232-1d9f9b189479" providerId="ADAL" clId="{EB13EEFD-4832-4936-8AD0-2E3F08493BC6}" dt="2024-04-19T03:27:49.688" v="2394" actId="478"/>
          <ac:spMkLst>
            <pc:docMk/>
            <pc:sldMk cId="2479349175" sldId="362"/>
            <ac:spMk id="2" creationId="{9C1D9202-61EB-3CDC-555C-A59BBA992A00}"/>
          </ac:spMkLst>
        </pc:spChg>
        <pc:spChg chg="del">
          <ac:chgData name="Clark, Connie" userId="73351e60-ad32-4085-a232-1d9f9b189479" providerId="ADAL" clId="{EB13EEFD-4832-4936-8AD0-2E3F08493BC6}" dt="2024-04-19T03:23:19.777" v="2375" actId="478"/>
          <ac:spMkLst>
            <pc:docMk/>
            <pc:sldMk cId="2479349175" sldId="362"/>
            <ac:spMk id="3" creationId="{56A160A4-630C-B823-4E6D-2DB037C59454}"/>
          </ac:spMkLst>
        </pc:spChg>
        <pc:spChg chg="add del mod">
          <ac:chgData name="Clark, Connie" userId="73351e60-ad32-4085-a232-1d9f9b189479" providerId="ADAL" clId="{EB13EEFD-4832-4936-8AD0-2E3F08493BC6}" dt="2024-04-19T03:23:50.544" v="2379" actId="478"/>
          <ac:spMkLst>
            <pc:docMk/>
            <pc:sldMk cId="2479349175" sldId="362"/>
            <ac:spMk id="6" creationId="{95730CE9-3BAE-C427-370C-F89153F9A39B}"/>
          </ac:spMkLst>
        </pc:spChg>
        <pc:spChg chg="add del mod">
          <ac:chgData name="Clark, Connie" userId="73351e60-ad32-4085-a232-1d9f9b189479" providerId="ADAL" clId="{EB13EEFD-4832-4936-8AD0-2E3F08493BC6}" dt="2024-04-19T03:28:11.763" v="2402" actId="478"/>
          <ac:spMkLst>
            <pc:docMk/>
            <pc:sldMk cId="2479349175" sldId="362"/>
            <ac:spMk id="11" creationId="{926DAC55-A581-4A13-96C5-3F6F57097AF7}"/>
          </ac:spMkLst>
        </pc:spChg>
        <pc:spChg chg="add mod">
          <ac:chgData name="Clark, Connie" userId="73351e60-ad32-4085-a232-1d9f9b189479" providerId="ADAL" clId="{EB13EEFD-4832-4936-8AD0-2E3F08493BC6}" dt="2024-04-19T03:28:33.743" v="2409" actId="20577"/>
          <ac:spMkLst>
            <pc:docMk/>
            <pc:sldMk cId="2479349175" sldId="362"/>
            <ac:spMk id="12" creationId="{DAC26B0B-0556-0B5A-7F88-5FD99B768828}"/>
          </ac:spMkLst>
        </pc:spChg>
        <pc:picChg chg="add del mod">
          <ac:chgData name="Clark, Connie" userId="73351e60-ad32-4085-a232-1d9f9b189479" providerId="ADAL" clId="{EB13EEFD-4832-4936-8AD0-2E3F08493BC6}" dt="2024-04-19T03:28:16.085" v="2403" actId="1076"/>
          <ac:picMkLst>
            <pc:docMk/>
            <pc:sldMk cId="2479349175" sldId="362"/>
            <ac:picMk id="9" creationId="{5C1E9441-E4C0-97D6-B548-781BCE3CBB8A}"/>
          </ac:picMkLst>
        </pc:picChg>
      </pc:sldChg>
      <pc:sldMasterChg chg="setBg delSldLayout modSldLayout">
        <pc:chgData name="Clark, Connie" userId="73351e60-ad32-4085-a232-1d9f9b189479" providerId="ADAL" clId="{EB13EEFD-4832-4936-8AD0-2E3F08493BC6}" dt="2024-04-19T01:54:14.813" v="2318" actId="47"/>
        <pc:sldMasterMkLst>
          <pc:docMk/>
          <pc:sldMasterMk cId="1474454694" sldId="2147483648"/>
        </pc:sldMasterMkLst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1417353249" sldId="2147483649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610579842" sldId="2147483650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1329941365" sldId="2147483651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2115955521" sldId="2147483652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2504468957" sldId="2147483653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2748813669" sldId="2147483654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1755384593" sldId="2147483655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1044134278" sldId="2147483656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1449851768" sldId="2147483657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997284822" sldId="2147483658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2125869905" sldId="2147483659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3620694943" sldId="2147483660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2579840804" sldId="2147483661"/>
          </pc:sldLayoutMkLst>
        </pc:sldLayoutChg>
        <pc:sldLayoutChg chg="setBg">
          <pc:chgData name="Clark, Connie" userId="73351e60-ad32-4085-a232-1d9f9b189479" providerId="ADAL" clId="{EB13EEFD-4832-4936-8AD0-2E3F08493BC6}" dt="2024-04-18T18:32:39.959" v="801"/>
          <pc:sldLayoutMkLst>
            <pc:docMk/>
            <pc:sldMasterMk cId="1474454694" sldId="2147483648"/>
            <pc:sldLayoutMk cId="3626820007" sldId="2147483662"/>
          </pc:sldLayoutMkLst>
        </pc:sldLayoutChg>
        <pc:sldLayoutChg chg="del setBg">
          <pc:chgData name="Clark, Connie" userId="73351e60-ad32-4085-a232-1d9f9b189479" providerId="ADAL" clId="{EB13EEFD-4832-4936-8AD0-2E3F08493BC6}" dt="2024-04-18T19:14:06.750" v="1030" actId="47"/>
          <pc:sldLayoutMkLst>
            <pc:docMk/>
            <pc:sldMasterMk cId="1474454694" sldId="2147483648"/>
            <pc:sldLayoutMk cId="488177236" sldId="2147483663"/>
          </pc:sldLayoutMkLst>
        </pc:sldLayoutChg>
        <pc:sldLayoutChg chg="del setBg">
          <pc:chgData name="Clark, Connie" userId="73351e60-ad32-4085-a232-1d9f9b189479" providerId="ADAL" clId="{EB13EEFD-4832-4936-8AD0-2E3F08493BC6}" dt="2024-04-19T01:54:14.813" v="2318" actId="47"/>
          <pc:sldLayoutMkLst>
            <pc:docMk/>
            <pc:sldMasterMk cId="1474454694" sldId="2147483648"/>
            <pc:sldLayoutMk cId="659908885" sldId="2147483664"/>
          </pc:sldLayoutMkLst>
        </pc:sldLayoutChg>
      </pc:sldMasterChg>
    </pc:docChg>
  </pc:docChgLst>
</pc:chgInfo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5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CAEDC2-E9C9-4230-A3C2-1E20F170826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CCF88BC-8E00-4730-8C1B-ED242C09C370}">
      <dgm:prSet/>
      <dgm:spPr/>
      <dgm:t>
        <a:bodyPr/>
        <a:lstStyle/>
        <a:p>
          <a:r>
            <a:rPr lang="es-CO" dirty="0"/>
            <a:t>Conceptos básicos de FEEDBACK</a:t>
          </a:r>
          <a:endParaRPr lang="en-US" dirty="0"/>
        </a:p>
      </dgm:t>
    </dgm:pt>
    <dgm:pt modelId="{292EEEAD-FF0A-4BC0-938F-86EDE46F2076}" type="parTrans" cxnId="{E6747C11-7C4F-4756-AD98-DA40006BB80E}">
      <dgm:prSet/>
      <dgm:spPr/>
      <dgm:t>
        <a:bodyPr/>
        <a:lstStyle/>
        <a:p>
          <a:endParaRPr lang="en-US"/>
        </a:p>
      </dgm:t>
    </dgm:pt>
    <dgm:pt modelId="{CEB9377A-F3DF-4D8C-BAD3-B6C55151FC72}" type="sibTrans" cxnId="{E6747C11-7C4F-4756-AD98-DA40006BB80E}">
      <dgm:prSet/>
      <dgm:spPr/>
      <dgm:t>
        <a:bodyPr/>
        <a:lstStyle/>
        <a:p>
          <a:endParaRPr lang="en-US"/>
        </a:p>
      </dgm:t>
    </dgm:pt>
    <dgm:pt modelId="{B435CF91-D283-4912-AEEF-7B0C8AEF8930}">
      <dgm:prSet/>
      <dgm:spPr/>
      <dgm:t>
        <a:bodyPr/>
        <a:lstStyle/>
        <a:p>
          <a:r>
            <a:rPr lang="es-AR" dirty="0"/>
            <a:t>Internalizar e Incorporar el MODELO DE FEEDBACK</a:t>
          </a:r>
          <a:endParaRPr lang="en-US" dirty="0"/>
        </a:p>
      </dgm:t>
    </dgm:pt>
    <dgm:pt modelId="{C9CEF894-2287-46E9-BBCA-393F7CD3B3F5}" type="parTrans" cxnId="{F31B90C5-AE8C-493A-AAD6-16392F33D98E}">
      <dgm:prSet/>
      <dgm:spPr/>
      <dgm:t>
        <a:bodyPr/>
        <a:lstStyle/>
        <a:p>
          <a:endParaRPr lang="en-US"/>
        </a:p>
      </dgm:t>
    </dgm:pt>
    <dgm:pt modelId="{FF422EE2-6739-448C-AD80-FE4D27A8CB4F}" type="sibTrans" cxnId="{F31B90C5-AE8C-493A-AAD6-16392F33D98E}">
      <dgm:prSet/>
      <dgm:spPr/>
      <dgm:t>
        <a:bodyPr/>
        <a:lstStyle/>
        <a:p>
          <a:endParaRPr lang="en-US"/>
        </a:p>
      </dgm:t>
    </dgm:pt>
    <dgm:pt modelId="{626BA07B-D64F-4A24-A5DF-C05EDC325AF8}">
      <dgm:prSet/>
      <dgm:spPr/>
      <dgm:t>
        <a:bodyPr/>
        <a:lstStyle/>
        <a:p>
          <a:r>
            <a:rPr lang="es-AR" dirty="0"/>
            <a:t>ROLE PLAY</a:t>
          </a:r>
          <a:endParaRPr lang="en-US" dirty="0"/>
        </a:p>
      </dgm:t>
    </dgm:pt>
    <dgm:pt modelId="{54CC1AB3-CF86-4373-A0EF-196D5228E6F4}" type="parTrans" cxnId="{170D04E5-4625-4B1E-90F3-FA0CFA5E408D}">
      <dgm:prSet/>
      <dgm:spPr/>
      <dgm:t>
        <a:bodyPr/>
        <a:lstStyle/>
        <a:p>
          <a:endParaRPr lang="en-US"/>
        </a:p>
      </dgm:t>
    </dgm:pt>
    <dgm:pt modelId="{DA015E48-CC83-475C-B9CA-A705F32DEA7F}" type="sibTrans" cxnId="{170D04E5-4625-4B1E-90F3-FA0CFA5E408D}">
      <dgm:prSet/>
      <dgm:spPr/>
      <dgm:t>
        <a:bodyPr/>
        <a:lstStyle/>
        <a:p>
          <a:endParaRPr lang="en-US"/>
        </a:p>
      </dgm:t>
    </dgm:pt>
    <dgm:pt modelId="{7714C2FF-A369-4C37-BC0D-22837C11E59E}" type="pres">
      <dgm:prSet presAssocID="{9BCAEDC2-E9C9-4230-A3C2-1E20F170826A}" presName="linear" presStyleCnt="0">
        <dgm:presLayoutVars>
          <dgm:animLvl val="lvl"/>
          <dgm:resizeHandles val="exact"/>
        </dgm:presLayoutVars>
      </dgm:prSet>
      <dgm:spPr/>
    </dgm:pt>
    <dgm:pt modelId="{DA331C2D-531C-40FC-89A1-92D1CE4AC599}" type="pres">
      <dgm:prSet presAssocID="{1CCF88BC-8E00-4730-8C1B-ED242C09C370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CEEE21B4-9DB8-41E4-B65D-1666CFB98290}" type="pres">
      <dgm:prSet presAssocID="{CEB9377A-F3DF-4D8C-BAD3-B6C55151FC72}" presName="spacer" presStyleCnt="0"/>
      <dgm:spPr/>
    </dgm:pt>
    <dgm:pt modelId="{8A558E77-FB96-4788-B495-50481E854128}" type="pres">
      <dgm:prSet presAssocID="{B435CF91-D283-4912-AEEF-7B0C8AEF893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EF6D9820-3683-470B-B151-BC1AF37271F3}" type="pres">
      <dgm:prSet presAssocID="{FF422EE2-6739-448C-AD80-FE4D27A8CB4F}" presName="spacer" presStyleCnt="0"/>
      <dgm:spPr/>
    </dgm:pt>
    <dgm:pt modelId="{EF495AE4-3203-4D46-B6C5-EB8864AA4CEB}" type="pres">
      <dgm:prSet presAssocID="{626BA07B-D64F-4A24-A5DF-C05EDC325AF8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E6747C11-7C4F-4756-AD98-DA40006BB80E}" srcId="{9BCAEDC2-E9C9-4230-A3C2-1E20F170826A}" destId="{1CCF88BC-8E00-4730-8C1B-ED242C09C370}" srcOrd="0" destOrd="0" parTransId="{292EEEAD-FF0A-4BC0-938F-86EDE46F2076}" sibTransId="{CEB9377A-F3DF-4D8C-BAD3-B6C55151FC72}"/>
    <dgm:cxn modelId="{62032214-41C0-406E-9EDD-F5D3B17D61B0}" type="presOf" srcId="{B435CF91-D283-4912-AEEF-7B0C8AEF8930}" destId="{8A558E77-FB96-4788-B495-50481E854128}" srcOrd="0" destOrd="0" presId="urn:microsoft.com/office/officeart/2005/8/layout/vList2"/>
    <dgm:cxn modelId="{7368668E-4155-4957-A5B6-1B5D1B16914A}" type="presOf" srcId="{9BCAEDC2-E9C9-4230-A3C2-1E20F170826A}" destId="{7714C2FF-A369-4C37-BC0D-22837C11E59E}" srcOrd="0" destOrd="0" presId="urn:microsoft.com/office/officeart/2005/8/layout/vList2"/>
    <dgm:cxn modelId="{14EAA6C0-720D-4B7D-B959-E3EE032D6A59}" type="presOf" srcId="{1CCF88BC-8E00-4730-8C1B-ED242C09C370}" destId="{DA331C2D-531C-40FC-89A1-92D1CE4AC599}" srcOrd="0" destOrd="0" presId="urn:microsoft.com/office/officeart/2005/8/layout/vList2"/>
    <dgm:cxn modelId="{F31B90C5-AE8C-493A-AAD6-16392F33D98E}" srcId="{9BCAEDC2-E9C9-4230-A3C2-1E20F170826A}" destId="{B435CF91-D283-4912-AEEF-7B0C8AEF8930}" srcOrd="1" destOrd="0" parTransId="{C9CEF894-2287-46E9-BBCA-393F7CD3B3F5}" sibTransId="{FF422EE2-6739-448C-AD80-FE4D27A8CB4F}"/>
    <dgm:cxn modelId="{1D9CEDD5-BE0E-4F2F-BF26-4852EE187CFC}" type="presOf" srcId="{626BA07B-D64F-4A24-A5DF-C05EDC325AF8}" destId="{EF495AE4-3203-4D46-B6C5-EB8864AA4CEB}" srcOrd="0" destOrd="0" presId="urn:microsoft.com/office/officeart/2005/8/layout/vList2"/>
    <dgm:cxn modelId="{170D04E5-4625-4B1E-90F3-FA0CFA5E408D}" srcId="{9BCAEDC2-E9C9-4230-A3C2-1E20F170826A}" destId="{626BA07B-D64F-4A24-A5DF-C05EDC325AF8}" srcOrd="2" destOrd="0" parTransId="{54CC1AB3-CF86-4373-A0EF-196D5228E6F4}" sibTransId="{DA015E48-CC83-475C-B9CA-A705F32DEA7F}"/>
    <dgm:cxn modelId="{D7C5B063-6600-4F89-BAB2-D4A38F582910}" type="presParOf" srcId="{7714C2FF-A369-4C37-BC0D-22837C11E59E}" destId="{DA331C2D-531C-40FC-89A1-92D1CE4AC599}" srcOrd="0" destOrd="0" presId="urn:microsoft.com/office/officeart/2005/8/layout/vList2"/>
    <dgm:cxn modelId="{879A3066-D83B-4362-909B-174214E73F39}" type="presParOf" srcId="{7714C2FF-A369-4C37-BC0D-22837C11E59E}" destId="{CEEE21B4-9DB8-41E4-B65D-1666CFB98290}" srcOrd="1" destOrd="0" presId="urn:microsoft.com/office/officeart/2005/8/layout/vList2"/>
    <dgm:cxn modelId="{1D3E77FF-0926-48D6-80B8-82A4F1BC03EE}" type="presParOf" srcId="{7714C2FF-A369-4C37-BC0D-22837C11E59E}" destId="{8A558E77-FB96-4788-B495-50481E854128}" srcOrd="2" destOrd="0" presId="urn:microsoft.com/office/officeart/2005/8/layout/vList2"/>
    <dgm:cxn modelId="{A098C6C4-81BF-42EF-AA61-B1433A7B5144}" type="presParOf" srcId="{7714C2FF-A369-4C37-BC0D-22837C11E59E}" destId="{EF6D9820-3683-470B-B151-BC1AF37271F3}" srcOrd="3" destOrd="0" presId="urn:microsoft.com/office/officeart/2005/8/layout/vList2"/>
    <dgm:cxn modelId="{F6CE8B16-1382-49D7-B80D-7013FB68B409}" type="presParOf" srcId="{7714C2FF-A369-4C37-BC0D-22837C11E59E}" destId="{EF495AE4-3203-4D46-B6C5-EB8864AA4CEB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38713C-8153-4C56-A045-79AAC6FF5B13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AR"/>
        </a:p>
      </dgm:t>
    </dgm:pt>
    <dgm:pt modelId="{0615CB59-6078-4811-A05F-7E8C27A64165}">
      <dgm:prSet phldrT="[Texto]" custT="1"/>
      <dgm:spPr>
        <a:solidFill>
          <a:srgbClr val="00B050"/>
        </a:solidFill>
      </dgm:spPr>
      <dgm:t>
        <a:bodyPr/>
        <a:lstStyle/>
        <a:p>
          <a:r>
            <a:rPr lang="es-AR" sz="1800" b="1" dirty="0">
              <a:solidFill>
                <a:schemeClr val="bg1"/>
              </a:solidFill>
            </a:rPr>
            <a:t>FEEDBACK</a:t>
          </a:r>
        </a:p>
      </dgm:t>
    </dgm:pt>
    <dgm:pt modelId="{290049A1-AF03-458E-8320-6DF94EED1B5F}" type="parTrans" cxnId="{0478AE82-1986-47C7-BB4B-1B92B78680FE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13C506B8-E45A-43F2-AA50-71451FA3EE16}" type="sibTrans" cxnId="{0478AE82-1986-47C7-BB4B-1B92B78680FE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C9C2701D-4035-4A71-A8E2-CEC8BC08FA6F}">
      <dgm:prSet phldrT="[Texto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>
            <a:buNone/>
          </a:pPr>
          <a:r>
            <a:rPr lang="es-ES" sz="1200" b="1" i="0" dirty="0">
              <a:solidFill>
                <a:schemeClr val="tx1"/>
              </a:solidFill>
              <a:effectLst/>
              <a:latin typeface="-apple-system"/>
            </a:rPr>
            <a:t>Mejora del Desempeño Individual</a:t>
          </a:r>
          <a:endParaRPr lang="es-AR" sz="1200" dirty="0">
            <a:solidFill>
              <a:schemeClr val="tx1"/>
            </a:solidFill>
          </a:endParaRPr>
        </a:p>
      </dgm:t>
    </dgm:pt>
    <dgm:pt modelId="{32C32713-1206-4BE6-8D09-081F3C2F76B7}" type="parTrans" cxnId="{7B7CCB4C-33C6-42F0-BD29-567169949836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2919DCFD-557A-4D9D-9C37-EAA7852EF1CC}" type="sibTrans" cxnId="{7B7CCB4C-33C6-42F0-BD29-567169949836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1B1FFEE5-F3DC-4191-A53D-FEA01B0C5DCB}">
      <dgm:prSet phldrT="[Texto]" custT="1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+mj-lt"/>
            <a:buNone/>
          </a:pPr>
          <a:r>
            <a:rPr lang="es-ES" sz="1200" b="1" i="0" dirty="0">
              <a:solidFill>
                <a:schemeClr val="tx1"/>
              </a:solidFill>
              <a:effectLst/>
              <a:latin typeface="-apple-system"/>
            </a:rPr>
            <a:t>Motivación y Compromiso</a:t>
          </a:r>
          <a:endParaRPr lang="es-AR" sz="1200" dirty="0">
            <a:solidFill>
              <a:schemeClr val="tx1"/>
            </a:solidFill>
          </a:endParaRPr>
        </a:p>
      </dgm:t>
    </dgm:pt>
    <dgm:pt modelId="{27E93498-8E2A-4352-9C19-8288C1C5F25D}" type="parTrans" cxnId="{A3400297-699E-4F33-AA70-15B7CDE198C8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7C2D79BB-B418-4121-B9C8-35DE3585F918}" type="sibTrans" cxnId="{A3400297-699E-4F33-AA70-15B7CDE198C8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FCB3E660-2669-426A-BAB8-5882410D8562}">
      <dgm:prSet phldrT="[Texto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pPr>
            <a:buFont typeface="+mj-lt"/>
            <a:buNone/>
          </a:pPr>
          <a:r>
            <a:rPr lang="es-ES" sz="1200" b="1" i="0" baseline="0" dirty="0">
              <a:solidFill>
                <a:schemeClr val="tx1"/>
              </a:solidFill>
              <a:effectLst/>
              <a:latin typeface="-apple-system"/>
            </a:rPr>
            <a:t>Desarrollo</a:t>
          </a:r>
          <a:r>
            <a:rPr lang="es-ES" sz="1200" b="1" i="0" dirty="0">
              <a:solidFill>
                <a:schemeClr val="tx1"/>
              </a:solidFill>
              <a:effectLst/>
              <a:latin typeface="-apple-system"/>
            </a:rPr>
            <a:t> Profesional</a:t>
          </a:r>
          <a:endParaRPr lang="es-AR" sz="1200" dirty="0">
            <a:solidFill>
              <a:schemeClr val="tx1"/>
            </a:solidFill>
          </a:endParaRPr>
        </a:p>
      </dgm:t>
    </dgm:pt>
    <dgm:pt modelId="{CC498599-AD81-4BFD-89F1-3614DC4E71CF}" type="parTrans" cxnId="{5ED249AA-C75E-4023-BB35-EB21872E2BDB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74B0A53E-B949-4A60-9AB0-2B5BB6EE40F3}" type="sibTrans" cxnId="{5ED249AA-C75E-4023-BB35-EB21872E2BDB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C6601949-740C-4203-8C76-42BA32B6852D}">
      <dgm:prSet phldrT="[Texto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pPr>
            <a:buFont typeface="+mj-lt"/>
            <a:buNone/>
          </a:pPr>
          <a:r>
            <a:rPr lang="es-ES" sz="1050" b="1" i="0" dirty="0">
              <a:solidFill>
                <a:schemeClr val="tx1"/>
              </a:solidFill>
              <a:effectLst/>
              <a:latin typeface="-apple-system"/>
            </a:rPr>
            <a:t>Mejora de Relaciones Interpersonales</a:t>
          </a:r>
          <a:endParaRPr lang="es-AR" sz="1050" dirty="0">
            <a:solidFill>
              <a:schemeClr val="tx1"/>
            </a:solidFill>
          </a:endParaRPr>
        </a:p>
      </dgm:t>
    </dgm:pt>
    <dgm:pt modelId="{C5040F52-3704-4EA9-90B5-F8C2942FEC93}" type="parTrans" cxnId="{E5D5D029-44CC-445E-A274-899C7EFA599F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BD7687EC-6487-45CB-8AF9-CF45498051ED}" type="sibTrans" cxnId="{E5D5D029-44CC-445E-A274-899C7EFA599F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66F056D5-192E-42F6-8B02-5FF7C0556887}">
      <dgm:prSet phldrT="[Texto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>
            <a:buNone/>
          </a:pPr>
          <a:r>
            <a:rPr lang="es-ES" sz="1200" b="1" i="0" dirty="0">
              <a:solidFill>
                <a:schemeClr val="tx1"/>
              </a:solidFill>
            </a:rPr>
            <a:t>Identificación de Problemas y Soluciones</a:t>
          </a:r>
          <a:endParaRPr lang="es-AR" sz="1200" dirty="0">
            <a:solidFill>
              <a:schemeClr val="tx1"/>
            </a:solidFill>
          </a:endParaRPr>
        </a:p>
      </dgm:t>
    </dgm:pt>
    <dgm:pt modelId="{94B74E0B-8F01-4C63-9D4A-E4E216E2F7CC}" type="parTrans" cxnId="{BB732AED-10D6-4634-8FE7-FE7ED5FC1F5B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A53074A2-61E9-49F9-B9FE-5F7DDB5DEB83}" type="sibTrans" cxnId="{BB732AED-10D6-4634-8FE7-FE7ED5FC1F5B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FA178C6F-1CC2-4DB8-AFA0-5772D2A40982}">
      <dgm:prSet phldrT="[Texto]" custT="1"/>
      <dgm:spPr>
        <a:solidFill>
          <a:srgbClr val="7030A0"/>
        </a:solidFill>
      </dgm:spPr>
      <dgm:t>
        <a:bodyPr/>
        <a:lstStyle/>
        <a:p>
          <a:pPr>
            <a:buNone/>
          </a:pPr>
          <a:r>
            <a:rPr lang="es-ES" sz="1200" b="1" i="0" dirty="0">
              <a:solidFill>
                <a:schemeClr val="bg1"/>
              </a:solidFill>
            </a:rPr>
            <a:t>Cultura de Mejora Continua</a:t>
          </a:r>
          <a:endParaRPr lang="es-AR" sz="1200" dirty="0">
            <a:solidFill>
              <a:schemeClr val="bg1"/>
            </a:solidFill>
          </a:endParaRPr>
        </a:p>
      </dgm:t>
    </dgm:pt>
    <dgm:pt modelId="{97E65CEB-11DE-4EFC-85CB-7E81987E1CA6}" type="parTrans" cxnId="{427EA685-CFD9-4C84-BB78-B5E287748766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B7F7638A-48A1-48D6-8A02-306D77F4611C}" type="sibTrans" cxnId="{427EA685-CFD9-4C84-BB78-B5E287748766}">
      <dgm:prSet/>
      <dgm:spPr/>
      <dgm:t>
        <a:bodyPr/>
        <a:lstStyle/>
        <a:p>
          <a:endParaRPr lang="es-AR" sz="1200">
            <a:solidFill>
              <a:schemeClr val="tx1"/>
            </a:solidFill>
          </a:endParaRPr>
        </a:p>
      </dgm:t>
    </dgm:pt>
    <dgm:pt modelId="{BE0F7FFC-F282-4F5D-BEBD-F62ED60DB623}" type="pres">
      <dgm:prSet presAssocID="{7B38713C-8153-4C56-A045-79AAC6FF5B13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5D730A9-BF6B-4A32-A1E0-C6AD1BDADF5C}" type="pres">
      <dgm:prSet presAssocID="{0615CB59-6078-4811-A05F-7E8C27A64165}" presName="centerShape" presStyleLbl="node0" presStyleIdx="0" presStyleCnt="1"/>
      <dgm:spPr/>
    </dgm:pt>
    <dgm:pt modelId="{A8107BF2-AE57-4DF4-B636-0F1BCA384AC7}" type="pres">
      <dgm:prSet presAssocID="{C9C2701D-4035-4A71-A8E2-CEC8BC08FA6F}" presName="node" presStyleLbl="node1" presStyleIdx="0" presStyleCnt="6">
        <dgm:presLayoutVars>
          <dgm:bulletEnabled val="1"/>
        </dgm:presLayoutVars>
      </dgm:prSet>
      <dgm:spPr/>
    </dgm:pt>
    <dgm:pt modelId="{1AC0ED13-6827-4B7C-9371-2D7ED198E83A}" type="pres">
      <dgm:prSet presAssocID="{C9C2701D-4035-4A71-A8E2-CEC8BC08FA6F}" presName="dummy" presStyleCnt="0"/>
      <dgm:spPr/>
    </dgm:pt>
    <dgm:pt modelId="{C2589778-8E7A-42EC-A719-C136F923F4E9}" type="pres">
      <dgm:prSet presAssocID="{2919DCFD-557A-4D9D-9C37-EAA7852EF1CC}" presName="sibTrans" presStyleLbl="sibTrans2D1" presStyleIdx="0" presStyleCnt="6"/>
      <dgm:spPr/>
    </dgm:pt>
    <dgm:pt modelId="{31DE23ED-3EBF-481F-AFF5-E7BF4194F376}" type="pres">
      <dgm:prSet presAssocID="{1B1FFEE5-F3DC-4191-A53D-FEA01B0C5DCB}" presName="node" presStyleLbl="node1" presStyleIdx="1" presStyleCnt="6">
        <dgm:presLayoutVars>
          <dgm:bulletEnabled val="1"/>
        </dgm:presLayoutVars>
      </dgm:prSet>
      <dgm:spPr/>
    </dgm:pt>
    <dgm:pt modelId="{13FAFDE3-BA88-4AF7-BE77-B695731E84AD}" type="pres">
      <dgm:prSet presAssocID="{1B1FFEE5-F3DC-4191-A53D-FEA01B0C5DCB}" presName="dummy" presStyleCnt="0"/>
      <dgm:spPr/>
    </dgm:pt>
    <dgm:pt modelId="{C1D624E7-7391-4903-90A6-9D56A65180F1}" type="pres">
      <dgm:prSet presAssocID="{7C2D79BB-B418-4121-B9C8-35DE3585F918}" presName="sibTrans" presStyleLbl="sibTrans2D1" presStyleIdx="1" presStyleCnt="6"/>
      <dgm:spPr/>
    </dgm:pt>
    <dgm:pt modelId="{62EE8605-EA53-47A6-871E-86A42F5C436D}" type="pres">
      <dgm:prSet presAssocID="{FCB3E660-2669-426A-BAB8-5882410D8562}" presName="node" presStyleLbl="node1" presStyleIdx="2" presStyleCnt="6">
        <dgm:presLayoutVars>
          <dgm:bulletEnabled val="1"/>
        </dgm:presLayoutVars>
      </dgm:prSet>
      <dgm:spPr/>
    </dgm:pt>
    <dgm:pt modelId="{A651D17E-44EB-4F04-B577-4F8A8C27155E}" type="pres">
      <dgm:prSet presAssocID="{FCB3E660-2669-426A-BAB8-5882410D8562}" presName="dummy" presStyleCnt="0"/>
      <dgm:spPr/>
    </dgm:pt>
    <dgm:pt modelId="{9872D01C-CD69-4D4C-ACF8-F075FC3284C9}" type="pres">
      <dgm:prSet presAssocID="{74B0A53E-B949-4A60-9AB0-2B5BB6EE40F3}" presName="sibTrans" presStyleLbl="sibTrans2D1" presStyleIdx="2" presStyleCnt="6"/>
      <dgm:spPr/>
    </dgm:pt>
    <dgm:pt modelId="{110BC8EE-DF2F-486C-8159-4D1826032366}" type="pres">
      <dgm:prSet presAssocID="{C6601949-740C-4203-8C76-42BA32B6852D}" presName="node" presStyleLbl="node1" presStyleIdx="3" presStyleCnt="6">
        <dgm:presLayoutVars>
          <dgm:bulletEnabled val="1"/>
        </dgm:presLayoutVars>
      </dgm:prSet>
      <dgm:spPr/>
    </dgm:pt>
    <dgm:pt modelId="{D5E4ACF5-5506-4047-BD02-2D734BD7BF74}" type="pres">
      <dgm:prSet presAssocID="{C6601949-740C-4203-8C76-42BA32B6852D}" presName="dummy" presStyleCnt="0"/>
      <dgm:spPr/>
    </dgm:pt>
    <dgm:pt modelId="{F6C628AE-6AA6-4D8F-AB68-952BFFA7E93A}" type="pres">
      <dgm:prSet presAssocID="{BD7687EC-6487-45CB-8AF9-CF45498051ED}" presName="sibTrans" presStyleLbl="sibTrans2D1" presStyleIdx="3" presStyleCnt="6"/>
      <dgm:spPr/>
    </dgm:pt>
    <dgm:pt modelId="{77CF8915-D2FB-4369-BA50-6C6C385555CC}" type="pres">
      <dgm:prSet presAssocID="{66F056D5-192E-42F6-8B02-5FF7C0556887}" presName="node" presStyleLbl="node1" presStyleIdx="4" presStyleCnt="6">
        <dgm:presLayoutVars>
          <dgm:bulletEnabled val="1"/>
        </dgm:presLayoutVars>
      </dgm:prSet>
      <dgm:spPr/>
    </dgm:pt>
    <dgm:pt modelId="{1D5B5D31-350E-4556-B617-8972BAF612DA}" type="pres">
      <dgm:prSet presAssocID="{66F056D5-192E-42F6-8B02-5FF7C0556887}" presName="dummy" presStyleCnt="0"/>
      <dgm:spPr/>
    </dgm:pt>
    <dgm:pt modelId="{12D9639C-26C4-4589-8DC7-5B5B2CC68704}" type="pres">
      <dgm:prSet presAssocID="{A53074A2-61E9-49F9-B9FE-5F7DDB5DEB83}" presName="sibTrans" presStyleLbl="sibTrans2D1" presStyleIdx="4" presStyleCnt="6"/>
      <dgm:spPr/>
    </dgm:pt>
    <dgm:pt modelId="{7F82C432-1671-4A25-B8D8-321EAD00D9D6}" type="pres">
      <dgm:prSet presAssocID="{FA178C6F-1CC2-4DB8-AFA0-5772D2A40982}" presName="node" presStyleLbl="node1" presStyleIdx="5" presStyleCnt="6">
        <dgm:presLayoutVars>
          <dgm:bulletEnabled val="1"/>
        </dgm:presLayoutVars>
      </dgm:prSet>
      <dgm:spPr/>
    </dgm:pt>
    <dgm:pt modelId="{C3BCB3C0-C136-4365-B093-8322A87AAD89}" type="pres">
      <dgm:prSet presAssocID="{FA178C6F-1CC2-4DB8-AFA0-5772D2A40982}" presName="dummy" presStyleCnt="0"/>
      <dgm:spPr/>
    </dgm:pt>
    <dgm:pt modelId="{06C234A8-863A-49F3-AE62-4FE68FB0FC63}" type="pres">
      <dgm:prSet presAssocID="{B7F7638A-48A1-48D6-8A02-306D77F4611C}" presName="sibTrans" presStyleLbl="sibTrans2D1" presStyleIdx="5" presStyleCnt="6"/>
      <dgm:spPr/>
    </dgm:pt>
  </dgm:ptLst>
  <dgm:cxnLst>
    <dgm:cxn modelId="{31AAE918-5D24-4802-81BF-6BBC0F9E80D5}" type="presOf" srcId="{FCB3E660-2669-426A-BAB8-5882410D8562}" destId="{62EE8605-EA53-47A6-871E-86A42F5C436D}" srcOrd="0" destOrd="0" presId="urn:microsoft.com/office/officeart/2005/8/layout/radial6"/>
    <dgm:cxn modelId="{B6BB8F19-67BF-4255-BFC6-C3EA1EB56256}" type="presOf" srcId="{0615CB59-6078-4811-A05F-7E8C27A64165}" destId="{35D730A9-BF6B-4A32-A1E0-C6AD1BDADF5C}" srcOrd="0" destOrd="0" presId="urn:microsoft.com/office/officeart/2005/8/layout/radial6"/>
    <dgm:cxn modelId="{E5D5D029-44CC-445E-A274-899C7EFA599F}" srcId="{0615CB59-6078-4811-A05F-7E8C27A64165}" destId="{C6601949-740C-4203-8C76-42BA32B6852D}" srcOrd="3" destOrd="0" parTransId="{C5040F52-3704-4EA9-90B5-F8C2942FEC93}" sibTransId="{BD7687EC-6487-45CB-8AF9-CF45498051ED}"/>
    <dgm:cxn modelId="{00531F31-00EF-44CC-A589-4D25206D49EA}" type="presOf" srcId="{2919DCFD-557A-4D9D-9C37-EAA7852EF1CC}" destId="{C2589778-8E7A-42EC-A719-C136F923F4E9}" srcOrd="0" destOrd="0" presId="urn:microsoft.com/office/officeart/2005/8/layout/radial6"/>
    <dgm:cxn modelId="{4CB5833B-EC64-441E-808A-B8D175EFE62A}" type="presOf" srcId="{7B38713C-8153-4C56-A045-79AAC6FF5B13}" destId="{BE0F7FFC-F282-4F5D-BEBD-F62ED60DB623}" srcOrd="0" destOrd="0" presId="urn:microsoft.com/office/officeart/2005/8/layout/radial6"/>
    <dgm:cxn modelId="{7B7CCB4C-33C6-42F0-BD29-567169949836}" srcId="{0615CB59-6078-4811-A05F-7E8C27A64165}" destId="{C9C2701D-4035-4A71-A8E2-CEC8BC08FA6F}" srcOrd="0" destOrd="0" parTransId="{32C32713-1206-4BE6-8D09-081F3C2F76B7}" sibTransId="{2919DCFD-557A-4D9D-9C37-EAA7852EF1CC}"/>
    <dgm:cxn modelId="{3BAE6271-44C0-4751-B2E2-38F9D5E511DD}" type="presOf" srcId="{74B0A53E-B949-4A60-9AB0-2B5BB6EE40F3}" destId="{9872D01C-CD69-4D4C-ACF8-F075FC3284C9}" srcOrd="0" destOrd="0" presId="urn:microsoft.com/office/officeart/2005/8/layout/radial6"/>
    <dgm:cxn modelId="{92743D54-05DE-4F79-94B9-780448659EEB}" type="presOf" srcId="{B7F7638A-48A1-48D6-8A02-306D77F4611C}" destId="{06C234A8-863A-49F3-AE62-4FE68FB0FC63}" srcOrd="0" destOrd="0" presId="urn:microsoft.com/office/officeart/2005/8/layout/radial6"/>
    <dgm:cxn modelId="{0478AE82-1986-47C7-BB4B-1B92B78680FE}" srcId="{7B38713C-8153-4C56-A045-79AAC6FF5B13}" destId="{0615CB59-6078-4811-A05F-7E8C27A64165}" srcOrd="0" destOrd="0" parTransId="{290049A1-AF03-458E-8320-6DF94EED1B5F}" sibTransId="{13C506B8-E45A-43F2-AA50-71451FA3EE16}"/>
    <dgm:cxn modelId="{427EA685-CFD9-4C84-BB78-B5E287748766}" srcId="{0615CB59-6078-4811-A05F-7E8C27A64165}" destId="{FA178C6F-1CC2-4DB8-AFA0-5772D2A40982}" srcOrd="5" destOrd="0" parTransId="{97E65CEB-11DE-4EFC-85CB-7E81987E1CA6}" sibTransId="{B7F7638A-48A1-48D6-8A02-306D77F4611C}"/>
    <dgm:cxn modelId="{A3400297-699E-4F33-AA70-15B7CDE198C8}" srcId="{0615CB59-6078-4811-A05F-7E8C27A64165}" destId="{1B1FFEE5-F3DC-4191-A53D-FEA01B0C5DCB}" srcOrd="1" destOrd="0" parTransId="{27E93498-8E2A-4352-9C19-8288C1C5F25D}" sibTransId="{7C2D79BB-B418-4121-B9C8-35DE3585F918}"/>
    <dgm:cxn modelId="{15ACB699-F791-4E1C-9220-D30F40684D36}" type="presOf" srcId="{7C2D79BB-B418-4121-B9C8-35DE3585F918}" destId="{C1D624E7-7391-4903-90A6-9D56A65180F1}" srcOrd="0" destOrd="0" presId="urn:microsoft.com/office/officeart/2005/8/layout/radial6"/>
    <dgm:cxn modelId="{5ED249AA-C75E-4023-BB35-EB21872E2BDB}" srcId="{0615CB59-6078-4811-A05F-7E8C27A64165}" destId="{FCB3E660-2669-426A-BAB8-5882410D8562}" srcOrd="2" destOrd="0" parTransId="{CC498599-AD81-4BFD-89F1-3614DC4E71CF}" sibTransId="{74B0A53E-B949-4A60-9AB0-2B5BB6EE40F3}"/>
    <dgm:cxn modelId="{B426DABB-80D7-4D02-917A-12469337038D}" type="presOf" srcId="{C6601949-740C-4203-8C76-42BA32B6852D}" destId="{110BC8EE-DF2F-486C-8159-4D1826032366}" srcOrd="0" destOrd="0" presId="urn:microsoft.com/office/officeart/2005/8/layout/radial6"/>
    <dgm:cxn modelId="{8FFB3EBC-78E7-4D2A-A51F-40CDF1A9A485}" type="presOf" srcId="{66F056D5-192E-42F6-8B02-5FF7C0556887}" destId="{77CF8915-D2FB-4369-BA50-6C6C385555CC}" srcOrd="0" destOrd="0" presId="urn:microsoft.com/office/officeart/2005/8/layout/radial6"/>
    <dgm:cxn modelId="{3EADB8CF-0D17-4B35-ACD7-B1D1F0089256}" type="presOf" srcId="{FA178C6F-1CC2-4DB8-AFA0-5772D2A40982}" destId="{7F82C432-1671-4A25-B8D8-321EAD00D9D6}" srcOrd="0" destOrd="0" presId="urn:microsoft.com/office/officeart/2005/8/layout/radial6"/>
    <dgm:cxn modelId="{02A5D5D7-1EDA-433E-9831-555A4403F686}" type="presOf" srcId="{A53074A2-61E9-49F9-B9FE-5F7DDB5DEB83}" destId="{12D9639C-26C4-4589-8DC7-5B5B2CC68704}" srcOrd="0" destOrd="0" presId="urn:microsoft.com/office/officeart/2005/8/layout/radial6"/>
    <dgm:cxn modelId="{BB732AED-10D6-4634-8FE7-FE7ED5FC1F5B}" srcId="{0615CB59-6078-4811-A05F-7E8C27A64165}" destId="{66F056D5-192E-42F6-8B02-5FF7C0556887}" srcOrd="4" destOrd="0" parTransId="{94B74E0B-8F01-4C63-9D4A-E4E216E2F7CC}" sibTransId="{A53074A2-61E9-49F9-B9FE-5F7DDB5DEB83}"/>
    <dgm:cxn modelId="{58357AEE-6425-4DA1-9766-6FFF2C5ADE1F}" type="presOf" srcId="{BD7687EC-6487-45CB-8AF9-CF45498051ED}" destId="{F6C628AE-6AA6-4D8F-AB68-952BFFA7E93A}" srcOrd="0" destOrd="0" presId="urn:microsoft.com/office/officeart/2005/8/layout/radial6"/>
    <dgm:cxn modelId="{492722F7-A8D4-4746-B5A1-B5606F2B676C}" type="presOf" srcId="{1B1FFEE5-F3DC-4191-A53D-FEA01B0C5DCB}" destId="{31DE23ED-3EBF-481F-AFF5-E7BF4194F376}" srcOrd="0" destOrd="0" presId="urn:microsoft.com/office/officeart/2005/8/layout/radial6"/>
    <dgm:cxn modelId="{C008BFF9-CF58-43CA-99EA-C43E058D8C2B}" type="presOf" srcId="{C9C2701D-4035-4A71-A8E2-CEC8BC08FA6F}" destId="{A8107BF2-AE57-4DF4-B636-0F1BCA384AC7}" srcOrd="0" destOrd="0" presId="urn:microsoft.com/office/officeart/2005/8/layout/radial6"/>
    <dgm:cxn modelId="{030B547C-A01F-4E64-A9ED-4F5DAA79EA9D}" type="presParOf" srcId="{BE0F7FFC-F282-4F5D-BEBD-F62ED60DB623}" destId="{35D730A9-BF6B-4A32-A1E0-C6AD1BDADF5C}" srcOrd="0" destOrd="0" presId="urn:microsoft.com/office/officeart/2005/8/layout/radial6"/>
    <dgm:cxn modelId="{04C1385E-3DD8-4C2A-A54D-68635C94EEC0}" type="presParOf" srcId="{BE0F7FFC-F282-4F5D-BEBD-F62ED60DB623}" destId="{A8107BF2-AE57-4DF4-B636-0F1BCA384AC7}" srcOrd="1" destOrd="0" presId="urn:microsoft.com/office/officeart/2005/8/layout/radial6"/>
    <dgm:cxn modelId="{8A69BCDB-50E7-40E4-9ACE-E2B0EB1A6370}" type="presParOf" srcId="{BE0F7FFC-F282-4F5D-BEBD-F62ED60DB623}" destId="{1AC0ED13-6827-4B7C-9371-2D7ED198E83A}" srcOrd="2" destOrd="0" presId="urn:microsoft.com/office/officeart/2005/8/layout/radial6"/>
    <dgm:cxn modelId="{174444A0-AAD5-418C-AC94-E2354066C580}" type="presParOf" srcId="{BE0F7FFC-F282-4F5D-BEBD-F62ED60DB623}" destId="{C2589778-8E7A-42EC-A719-C136F923F4E9}" srcOrd="3" destOrd="0" presId="urn:microsoft.com/office/officeart/2005/8/layout/radial6"/>
    <dgm:cxn modelId="{DB306B21-EFD7-4871-B8F3-542B30CC0F66}" type="presParOf" srcId="{BE0F7FFC-F282-4F5D-BEBD-F62ED60DB623}" destId="{31DE23ED-3EBF-481F-AFF5-E7BF4194F376}" srcOrd="4" destOrd="0" presId="urn:microsoft.com/office/officeart/2005/8/layout/radial6"/>
    <dgm:cxn modelId="{1808E383-CD15-49A6-A8A0-0A4BEBC620D3}" type="presParOf" srcId="{BE0F7FFC-F282-4F5D-BEBD-F62ED60DB623}" destId="{13FAFDE3-BA88-4AF7-BE77-B695731E84AD}" srcOrd="5" destOrd="0" presId="urn:microsoft.com/office/officeart/2005/8/layout/radial6"/>
    <dgm:cxn modelId="{ECF011B9-FD84-4F43-AF20-AC83489F38C3}" type="presParOf" srcId="{BE0F7FFC-F282-4F5D-BEBD-F62ED60DB623}" destId="{C1D624E7-7391-4903-90A6-9D56A65180F1}" srcOrd="6" destOrd="0" presId="urn:microsoft.com/office/officeart/2005/8/layout/radial6"/>
    <dgm:cxn modelId="{2C039A0E-DAB6-4506-913F-5A5B78C1525A}" type="presParOf" srcId="{BE0F7FFC-F282-4F5D-BEBD-F62ED60DB623}" destId="{62EE8605-EA53-47A6-871E-86A42F5C436D}" srcOrd="7" destOrd="0" presId="urn:microsoft.com/office/officeart/2005/8/layout/radial6"/>
    <dgm:cxn modelId="{D55B4B08-64A6-4417-9500-0B63A694978C}" type="presParOf" srcId="{BE0F7FFC-F282-4F5D-BEBD-F62ED60DB623}" destId="{A651D17E-44EB-4F04-B577-4F8A8C27155E}" srcOrd="8" destOrd="0" presId="urn:microsoft.com/office/officeart/2005/8/layout/radial6"/>
    <dgm:cxn modelId="{E6B8F1BA-EBFA-42D9-AEE4-354C0873E826}" type="presParOf" srcId="{BE0F7FFC-F282-4F5D-BEBD-F62ED60DB623}" destId="{9872D01C-CD69-4D4C-ACF8-F075FC3284C9}" srcOrd="9" destOrd="0" presId="urn:microsoft.com/office/officeart/2005/8/layout/radial6"/>
    <dgm:cxn modelId="{732F5612-9654-4336-BFBB-419E8F09EAE5}" type="presParOf" srcId="{BE0F7FFC-F282-4F5D-BEBD-F62ED60DB623}" destId="{110BC8EE-DF2F-486C-8159-4D1826032366}" srcOrd="10" destOrd="0" presId="urn:microsoft.com/office/officeart/2005/8/layout/radial6"/>
    <dgm:cxn modelId="{5EC9E3DE-EE68-4445-98EA-AECB661BD03E}" type="presParOf" srcId="{BE0F7FFC-F282-4F5D-BEBD-F62ED60DB623}" destId="{D5E4ACF5-5506-4047-BD02-2D734BD7BF74}" srcOrd="11" destOrd="0" presId="urn:microsoft.com/office/officeart/2005/8/layout/radial6"/>
    <dgm:cxn modelId="{A5063A6C-55EB-494C-AE56-06018D1AB341}" type="presParOf" srcId="{BE0F7FFC-F282-4F5D-BEBD-F62ED60DB623}" destId="{F6C628AE-6AA6-4D8F-AB68-952BFFA7E93A}" srcOrd="12" destOrd="0" presId="urn:microsoft.com/office/officeart/2005/8/layout/radial6"/>
    <dgm:cxn modelId="{70D146CF-D57C-4FD2-A450-78710CB6EB51}" type="presParOf" srcId="{BE0F7FFC-F282-4F5D-BEBD-F62ED60DB623}" destId="{77CF8915-D2FB-4369-BA50-6C6C385555CC}" srcOrd="13" destOrd="0" presId="urn:microsoft.com/office/officeart/2005/8/layout/radial6"/>
    <dgm:cxn modelId="{3520187F-4B02-418C-BFFD-02EE011F6D25}" type="presParOf" srcId="{BE0F7FFC-F282-4F5D-BEBD-F62ED60DB623}" destId="{1D5B5D31-350E-4556-B617-8972BAF612DA}" srcOrd="14" destOrd="0" presId="urn:microsoft.com/office/officeart/2005/8/layout/radial6"/>
    <dgm:cxn modelId="{944E791E-5548-4C11-97C2-9E62AACC2D9C}" type="presParOf" srcId="{BE0F7FFC-F282-4F5D-BEBD-F62ED60DB623}" destId="{12D9639C-26C4-4589-8DC7-5B5B2CC68704}" srcOrd="15" destOrd="0" presId="urn:microsoft.com/office/officeart/2005/8/layout/radial6"/>
    <dgm:cxn modelId="{FC475D26-91DC-4891-9BAE-B33DE219A9CF}" type="presParOf" srcId="{BE0F7FFC-F282-4F5D-BEBD-F62ED60DB623}" destId="{7F82C432-1671-4A25-B8D8-321EAD00D9D6}" srcOrd="16" destOrd="0" presId="urn:microsoft.com/office/officeart/2005/8/layout/radial6"/>
    <dgm:cxn modelId="{1D103F5B-B033-416C-91A8-8AA74C2DE41F}" type="presParOf" srcId="{BE0F7FFC-F282-4F5D-BEBD-F62ED60DB623}" destId="{C3BCB3C0-C136-4365-B093-8322A87AAD89}" srcOrd="17" destOrd="0" presId="urn:microsoft.com/office/officeart/2005/8/layout/radial6"/>
    <dgm:cxn modelId="{0F093685-6BFE-407C-82FC-7EF2B15B1CFA}" type="presParOf" srcId="{BE0F7FFC-F282-4F5D-BEBD-F62ED60DB623}" destId="{06C234A8-863A-49F3-AE62-4FE68FB0FC63}" srcOrd="18" destOrd="0" presId="urn:microsoft.com/office/officeart/2005/8/layout/radial6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AF71521-DCE4-429E-8F0F-E4315BCC9EF0}" type="doc">
      <dgm:prSet loTypeId="urn:microsoft.com/office/officeart/2018/2/layout/IconVerticalSolidList" loCatId="icon" qsTypeId="urn:microsoft.com/office/officeart/2005/8/quickstyle/3d4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58AF5808-24F2-4AD8-B9B2-472F15388392}">
      <dgm:prSet/>
      <dgm:spPr/>
      <dgm:t>
        <a:bodyPr/>
        <a:lstStyle/>
        <a:p>
          <a:pPr>
            <a:lnSpc>
              <a:spcPct val="100000"/>
            </a:lnSpc>
          </a:pPr>
          <a:r>
            <a:rPr lang="es-ES" b="0" i="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Proporciona información específica sobre el rendimiento/actuación  de un empleado. </a:t>
          </a:r>
          <a:endParaRPr lang="es-ES" dirty="0">
            <a:solidFill>
              <a:srgbClr val="11111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lnSpc>
              <a:spcPct val="100000"/>
            </a:lnSpc>
            <a:buFont typeface="Arial" panose="020B0604020202020204" pitchFamily="34" charset="0"/>
            <a:buChar char="•"/>
          </a:pPr>
          <a:r>
            <a:rPr lang="es-ES" b="0" i="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Permite identificar áreas de mejora y fortalezas.</a:t>
          </a:r>
        </a:p>
        <a:p>
          <a:pPr>
            <a:lnSpc>
              <a:spcPct val="100000"/>
            </a:lnSpc>
            <a:buFont typeface="Arial" panose="020B0604020202020204" pitchFamily="34" charset="0"/>
            <a:buChar char="•"/>
          </a:pPr>
          <a:r>
            <a:rPr lang="es-ES" b="0" i="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Al recibir comentarios constructivos, los empleados pueden ajustar su enfoque y trabajar hacia metas más claras y efectivas.</a:t>
          </a:r>
          <a:r>
            <a:rPr lang="es-CR" b="1" dirty="0"/>
            <a:t>				</a:t>
          </a:r>
          <a:r>
            <a:rPr lang="es-CR" dirty="0"/>
            <a:t>		</a:t>
          </a:r>
          <a:endParaRPr lang="en-US" dirty="0"/>
        </a:p>
      </dgm:t>
    </dgm:pt>
    <dgm:pt modelId="{BEA8DBE9-5607-405D-AD8D-DF06B4312797}" type="parTrans" cxnId="{3D42F8E0-C57A-49BC-9D06-FF2A53F508A4}">
      <dgm:prSet/>
      <dgm:spPr/>
      <dgm:t>
        <a:bodyPr/>
        <a:lstStyle/>
        <a:p>
          <a:endParaRPr lang="en-US"/>
        </a:p>
      </dgm:t>
    </dgm:pt>
    <dgm:pt modelId="{DAFB3D84-85CC-4D26-9376-4A2A0AC97814}" type="sibTrans" cxnId="{3D42F8E0-C57A-49BC-9D06-FF2A53F508A4}">
      <dgm:prSet/>
      <dgm:spPr/>
      <dgm:t>
        <a:bodyPr/>
        <a:lstStyle/>
        <a:p>
          <a:endParaRPr lang="en-US"/>
        </a:p>
      </dgm:t>
    </dgm:pt>
    <dgm:pt modelId="{73E0E729-912C-4A13-8449-DF701A136AD7}">
      <dgm:prSet custT="1"/>
      <dgm:spPr/>
      <dgm:t>
        <a:bodyPr/>
        <a:lstStyle/>
        <a:p>
          <a:pPr marL="0" lvl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l feedback ayuda a los empleados a identificar oportunidades de crecimiento y desarrollo.</a:t>
          </a:r>
        </a:p>
        <a:p>
          <a:pPr marL="0" lvl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uede guiar la capacitación y el aprendizaje continuo, permitiendo a los empleados adquirir nuevas habilidades y conocimientos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7F6B9CD-E5C2-4F97-936F-68702261A5D0}" type="parTrans" cxnId="{B55080C5-C912-48A2-824B-1E3E56A7B97D}">
      <dgm:prSet/>
      <dgm:spPr/>
      <dgm:t>
        <a:bodyPr/>
        <a:lstStyle/>
        <a:p>
          <a:endParaRPr lang="en-US"/>
        </a:p>
      </dgm:t>
    </dgm:pt>
    <dgm:pt modelId="{AA058F94-4B17-45F1-92A2-D8935F37A215}" type="sibTrans" cxnId="{B55080C5-C912-48A2-824B-1E3E56A7B97D}">
      <dgm:prSet/>
      <dgm:spPr/>
      <dgm:t>
        <a:bodyPr/>
        <a:lstStyle/>
        <a:p>
          <a:endParaRPr lang="en-US"/>
        </a:p>
      </dgm:t>
    </dgm:pt>
    <dgm:pt modelId="{F08018EC-211F-4A17-AF9C-BEA6F098C1F8}">
      <dgm:prSet custT="1"/>
      <dgm:spPr/>
      <dgm:t>
        <a:bodyPr/>
        <a:lstStyle/>
        <a:p>
          <a:pPr marL="0" lvl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El </a:t>
          </a: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eedback promueve la comunicación abierta y honesta entre colegas y líderes.</a:t>
          </a:r>
        </a:p>
        <a:p>
          <a:pPr marL="0" lvl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l resolver conflictos y comprender las perspectivas de los demás, se fortalecen las relaciones laborales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6A3CED4C-CE2C-418D-BB97-93820D2928BE}" type="parTrans" cxnId="{36DC0A25-1BF3-4B81-9626-23DDF0CC8D8B}">
      <dgm:prSet/>
      <dgm:spPr/>
      <dgm:t>
        <a:bodyPr/>
        <a:lstStyle/>
        <a:p>
          <a:endParaRPr lang="en-US"/>
        </a:p>
      </dgm:t>
    </dgm:pt>
    <dgm:pt modelId="{26366C95-7121-497D-87CB-4C59D76E2E21}" type="sibTrans" cxnId="{36DC0A25-1BF3-4B81-9626-23DDF0CC8D8B}">
      <dgm:prSet/>
      <dgm:spPr/>
      <dgm:t>
        <a:bodyPr/>
        <a:lstStyle/>
        <a:p>
          <a:endParaRPr lang="en-US"/>
        </a:p>
      </dgm:t>
    </dgm:pt>
    <dgm:pt modelId="{A6B92A15-E08F-4B4B-9A9E-925E175E08BB}" type="pres">
      <dgm:prSet presAssocID="{3AF71521-DCE4-429E-8F0F-E4315BCC9EF0}" presName="root" presStyleCnt="0">
        <dgm:presLayoutVars>
          <dgm:dir/>
          <dgm:resizeHandles val="exact"/>
        </dgm:presLayoutVars>
      </dgm:prSet>
      <dgm:spPr/>
    </dgm:pt>
    <dgm:pt modelId="{42EA224E-D2EF-4FD5-8702-FFDC8FEB1CC4}" type="pres">
      <dgm:prSet presAssocID="{58AF5808-24F2-4AD8-B9B2-472F15388392}" presName="compNode" presStyleCnt="0"/>
      <dgm:spPr/>
    </dgm:pt>
    <dgm:pt modelId="{0C0455C5-A58D-4944-B7A2-F4968CCE81F4}" type="pres">
      <dgm:prSet presAssocID="{58AF5808-24F2-4AD8-B9B2-472F15388392}" presName="bgRect" presStyleLbl="bgShp" presStyleIdx="0" presStyleCnt="3" custLinFactY="-75030" custLinFactNeighborX="10335" custLinFactNeighborY="-100000"/>
      <dgm:spPr/>
    </dgm:pt>
    <dgm:pt modelId="{1D0373F3-09FA-4ACA-BC0E-D037B9790D36}" type="pres">
      <dgm:prSet presAssocID="{58AF5808-24F2-4AD8-B9B2-472F15388392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B4FA929A-06C7-4D19-A8FD-D226FC48B474}" type="pres">
      <dgm:prSet presAssocID="{58AF5808-24F2-4AD8-B9B2-472F15388392}" presName="spaceRect" presStyleCnt="0"/>
      <dgm:spPr/>
    </dgm:pt>
    <dgm:pt modelId="{237DC0ED-6121-4E1F-B81E-EF1105E6FCE6}" type="pres">
      <dgm:prSet presAssocID="{58AF5808-24F2-4AD8-B9B2-472F15388392}" presName="parTx" presStyleLbl="revTx" presStyleIdx="0" presStyleCnt="3">
        <dgm:presLayoutVars>
          <dgm:chMax val="0"/>
          <dgm:chPref val="0"/>
        </dgm:presLayoutVars>
      </dgm:prSet>
      <dgm:spPr/>
    </dgm:pt>
    <dgm:pt modelId="{A7B662FD-AB55-4765-BFAC-256EF561B4EC}" type="pres">
      <dgm:prSet presAssocID="{DAFB3D84-85CC-4D26-9376-4A2A0AC97814}" presName="sibTrans" presStyleCnt="0"/>
      <dgm:spPr/>
    </dgm:pt>
    <dgm:pt modelId="{0BB79840-3373-4893-AB9E-5B273C257BB2}" type="pres">
      <dgm:prSet presAssocID="{73E0E729-912C-4A13-8449-DF701A136AD7}" presName="compNode" presStyleCnt="0"/>
      <dgm:spPr/>
    </dgm:pt>
    <dgm:pt modelId="{89F2D1FA-02F9-4415-9C98-781C11FEEE51}" type="pres">
      <dgm:prSet presAssocID="{73E0E729-912C-4A13-8449-DF701A136AD7}" presName="bgRect" presStyleLbl="bgShp" presStyleIdx="1" presStyleCnt="3" custLinFactNeighborX="-372" custLinFactNeighborY="-14536"/>
      <dgm:spPr/>
    </dgm:pt>
    <dgm:pt modelId="{108458CB-4622-4D22-BD40-5108989DB505}" type="pres">
      <dgm:prSet presAssocID="{73E0E729-912C-4A13-8449-DF701A136AD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1665335A-6922-4FD0-A5CC-3603F042D161}" type="pres">
      <dgm:prSet presAssocID="{73E0E729-912C-4A13-8449-DF701A136AD7}" presName="spaceRect" presStyleCnt="0"/>
      <dgm:spPr/>
    </dgm:pt>
    <dgm:pt modelId="{8CF4419D-E10F-4675-BBD7-675B38F48755}" type="pres">
      <dgm:prSet presAssocID="{73E0E729-912C-4A13-8449-DF701A136AD7}" presName="parTx" presStyleLbl="revTx" presStyleIdx="1" presStyleCnt="3" custLinFactNeighborX="-71" custLinFactNeighborY="-13768">
        <dgm:presLayoutVars>
          <dgm:chMax val="0"/>
          <dgm:chPref val="0"/>
        </dgm:presLayoutVars>
      </dgm:prSet>
      <dgm:spPr/>
    </dgm:pt>
    <dgm:pt modelId="{B3698402-BD27-4A19-9CF5-4A60B0B12483}" type="pres">
      <dgm:prSet presAssocID="{AA058F94-4B17-45F1-92A2-D8935F37A215}" presName="sibTrans" presStyleCnt="0"/>
      <dgm:spPr/>
    </dgm:pt>
    <dgm:pt modelId="{789ACCC6-9F50-442A-828B-4D4B26BD7A57}" type="pres">
      <dgm:prSet presAssocID="{F08018EC-211F-4A17-AF9C-BEA6F098C1F8}" presName="compNode" presStyleCnt="0"/>
      <dgm:spPr/>
    </dgm:pt>
    <dgm:pt modelId="{CBE37134-99A1-4156-943E-ED8D2077CC4C}" type="pres">
      <dgm:prSet presAssocID="{F08018EC-211F-4A17-AF9C-BEA6F098C1F8}" presName="bgRect" presStyleLbl="bgShp" presStyleIdx="2" presStyleCnt="3" custLinFactNeighborX="209" custLinFactNeighborY="-20510"/>
      <dgm:spPr/>
    </dgm:pt>
    <dgm:pt modelId="{0B5C778C-1512-447F-9F6B-547A719C006B}" type="pres">
      <dgm:prSet presAssocID="{F08018EC-211F-4A17-AF9C-BEA6F098C1F8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10E8A6BF-DCE2-4700-8A84-364D5261E3A5}" type="pres">
      <dgm:prSet presAssocID="{F08018EC-211F-4A17-AF9C-BEA6F098C1F8}" presName="spaceRect" presStyleCnt="0"/>
      <dgm:spPr/>
    </dgm:pt>
    <dgm:pt modelId="{7C3F1D87-E2EB-47BB-9FEA-FE5BB8C7DE9A}" type="pres">
      <dgm:prSet presAssocID="{F08018EC-211F-4A17-AF9C-BEA6F098C1F8}" presName="parTx" presStyleLbl="revTx" presStyleIdx="2" presStyleCnt="3" custLinFactNeighborX="-198" custLinFactNeighborY="-23152">
        <dgm:presLayoutVars>
          <dgm:chMax val="0"/>
          <dgm:chPref val="0"/>
        </dgm:presLayoutVars>
      </dgm:prSet>
      <dgm:spPr/>
    </dgm:pt>
  </dgm:ptLst>
  <dgm:cxnLst>
    <dgm:cxn modelId="{36DC0A25-1BF3-4B81-9626-23DDF0CC8D8B}" srcId="{3AF71521-DCE4-429E-8F0F-E4315BCC9EF0}" destId="{F08018EC-211F-4A17-AF9C-BEA6F098C1F8}" srcOrd="2" destOrd="0" parTransId="{6A3CED4C-CE2C-418D-BB97-93820D2928BE}" sibTransId="{26366C95-7121-497D-87CB-4C59D76E2E21}"/>
    <dgm:cxn modelId="{661FAA6C-FA83-4516-A6FB-9F2F4174D2F1}" type="presOf" srcId="{58AF5808-24F2-4AD8-B9B2-472F15388392}" destId="{237DC0ED-6121-4E1F-B81E-EF1105E6FCE6}" srcOrd="0" destOrd="0" presId="urn:microsoft.com/office/officeart/2018/2/layout/IconVerticalSolidList"/>
    <dgm:cxn modelId="{2EE4426E-93EA-405E-BD1A-E9ED515F5D6D}" type="presOf" srcId="{F08018EC-211F-4A17-AF9C-BEA6F098C1F8}" destId="{7C3F1D87-E2EB-47BB-9FEA-FE5BB8C7DE9A}" srcOrd="0" destOrd="0" presId="urn:microsoft.com/office/officeart/2018/2/layout/IconVerticalSolidList"/>
    <dgm:cxn modelId="{DF6C5E7D-E155-4AE6-813D-032D7E95E869}" type="presOf" srcId="{3AF71521-DCE4-429E-8F0F-E4315BCC9EF0}" destId="{A6B92A15-E08F-4B4B-9A9E-925E175E08BB}" srcOrd="0" destOrd="0" presId="urn:microsoft.com/office/officeart/2018/2/layout/IconVerticalSolidList"/>
    <dgm:cxn modelId="{B55080C5-C912-48A2-824B-1E3E56A7B97D}" srcId="{3AF71521-DCE4-429E-8F0F-E4315BCC9EF0}" destId="{73E0E729-912C-4A13-8449-DF701A136AD7}" srcOrd="1" destOrd="0" parTransId="{C7F6B9CD-E5C2-4F97-936F-68702261A5D0}" sibTransId="{AA058F94-4B17-45F1-92A2-D8935F37A215}"/>
    <dgm:cxn modelId="{3D42F8E0-C57A-49BC-9D06-FF2A53F508A4}" srcId="{3AF71521-DCE4-429E-8F0F-E4315BCC9EF0}" destId="{58AF5808-24F2-4AD8-B9B2-472F15388392}" srcOrd="0" destOrd="0" parTransId="{BEA8DBE9-5607-405D-AD8D-DF06B4312797}" sibTransId="{DAFB3D84-85CC-4D26-9376-4A2A0AC97814}"/>
    <dgm:cxn modelId="{E8A6DBEC-C97B-4B9A-8486-D9282DB40ED4}" type="presOf" srcId="{73E0E729-912C-4A13-8449-DF701A136AD7}" destId="{8CF4419D-E10F-4675-BBD7-675B38F48755}" srcOrd="0" destOrd="0" presId="urn:microsoft.com/office/officeart/2018/2/layout/IconVerticalSolidList"/>
    <dgm:cxn modelId="{E3D46DC1-2AE2-4230-BB3B-2EA5DC1CE149}" type="presParOf" srcId="{A6B92A15-E08F-4B4B-9A9E-925E175E08BB}" destId="{42EA224E-D2EF-4FD5-8702-FFDC8FEB1CC4}" srcOrd="0" destOrd="0" presId="urn:microsoft.com/office/officeart/2018/2/layout/IconVerticalSolidList"/>
    <dgm:cxn modelId="{11002AE6-DDBF-40D9-BD62-D3943D18131B}" type="presParOf" srcId="{42EA224E-D2EF-4FD5-8702-FFDC8FEB1CC4}" destId="{0C0455C5-A58D-4944-B7A2-F4968CCE81F4}" srcOrd="0" destOrd="0" presId="urn:microsoft.com/office/officeart/2018/2/layout/IconVerticalSolidList"/>
    <dgm:cxn modelId="{7BBF6027-E2E1-40CB-AF0A-F658558EBC8D}" type="presParOf" srcId="{42EA224E-D2EF-4FD5-8702-FFDC8FEB1CC4}" destId="{1D0373F3-09FA-4ACA-BC0E-D037B9790D36}" srcOrd="1" destOrd="0" presId="urn:microsoft.com/office/officeart/2018/2/layout/IconVerticalSolidList"/>
    <dgm:cxn modelId="{5810DC88-DA69-4EB9-8FE9-D516FC6DDE5E}" type="presParOf" srcId="{42EA224E-D2EF-4FD5-8702-FFDC8FEB1CC4}" destId="{B4FA929A-06C7-4D19-A8FD-D226FC48B474}" srcOrd="2" destOrd="0" presId="urn:microsoft.com/office/officeart/2018/2/layout/IconVerticalSolidList"/>
    <dgm:cxn modelId="{86E3D28F-A834-46F4-8624-0EAA59645D68}" type="presParOf" srcId="{42EA224E-D2EF-4FD5-8702-FFDC8FEB1CC4}" destId="{237DC0ED-6121-4E1F-B81E-EF1105E6FCE6}" srcOrd="3" destOrd="0" presId="urn:microsoft.com/office/officeart/2018/2/layout/IconVerticalSolidList"/>
    <dgm:cxn modelId="{D14A2399-EB41-47D8-838A-8BCF88B9C71D}" type="presParOf" srcId="{A6B92A15-E08F-4B4B-9A9E-925E175E08BB}" destId="{A7B662FD-AB55-4765-BFAC-256EF561B4EC}" srcOrd="1" destOrd="0" presId="urn:microsoft.com/office/officeart/2018/2/layout/IconVerticalSolidList"/>
    <dgm:cxn modelId="{6A5F9683-7E85-4314-A3AD-C1FACA3C0D18}" type="presParOf" srcId="{A6B92A15-E08F-4B4B-9A9E-925E175E08BB}" destId="{0BB79840-3373-4893-AB9E-5B273C257BB2}" srcOrd="2" destOrd="0" presId="urn:microsoft.com/office/officeart/2018/2/layout/IconVerticalSolidList"/>
    <dgm:cxn modelId="{3985E212-D27F-40CE-858B-E7E9AE3D6215}" type="presParOf" srcId="{0BB79840-3373-4893-AB9E-5B273C257BB2}" destId="{89F2D1FA-02F9-4415-9C98-781C11FEEE51}" srcOrd="0" destOrd="0" presId="urn:microsoft.com/office/officeart/2018/2/layout/IconVerticalSolidList"/>
    <dgm:cxn modelId="{8548D9DD-219D-4FEA-BAC5-1E8B03AAD018}" type="presParOf" srcId="{0BB79840-3373-4893-AB9E-5B273C257BB2}" destId="{108458CB-4622-4D22-BD40-5108989DB505}" srcOrd="1" destOrd="0" presId="urn:microsoft.com/office/officeart/2018/2/layout/IconVerticalSolidList"/>
    <dgm:cxn modelId="{1080B172-2411-4756-B21D-4525A19757C0}" type="presParOf" srcId="{0BB79840-3373-4893-AB9E-5B273C257BB2}" destId="{1665335A-6922-4FD0-A5CC-3603F042D161}" srcOrd="2" destOrd="0" presId="urn:microsoft.com/office/officeart/2018/2/layout/IconVerticalSolidList"/>
    <dgm:cxn modelId="{9D3BD3BF-A99F-4B94-8A21-993E8AF8E925}" type="presParOf" srcId="{0BB79840-3373-4893-AB9E-5B273C257BB2}" destId="{8CF4419D-E10F-4675-BBD7-675B38F48755}" srcOrd="3" destOrd="0" presId="urn:microsoft.com/office/officeart/2018/2/layout/IconVerticalSolidList"/>
    <dgm:cxn modelId="{DF088BA9-C860-46B2-8D4F-7FED793450DC}" type="presParOf" srcId="{A6B92A15-E08F-4B4B-9A9E-925E175E08BB}" destId="{B3698402-BD27-4A19-9CF5-4A60B0B12483}" srcOrd="3" destOrd="0" presId="urn:microsoft.com/office/officeart/2018/2/layout/IconVerticalSolidList"/>
    <dgm:cxn modelId="{C8CF7368-9976-490E-8420-7D35DBBAFF81}" type="presParOf" srcId="{A6B92A15-E08F-4B4B-9A9E-925E175E08BB}" destId="{789ACCC6-9F50-442A-828B-4D4B26BD7A57}" srcOrd="4" destOrd="0" presId="urn:microsoft.com/office/officeart/2018/2/layout/IconVerticalSolidList"/>
    <dgm:cxn modelId="{2F574D06-CA34-493F-9DDF-C3AE0871BF5C}" type="presParOf" srcId="{789ACCC6-9F50-442A-828B-4D4B26BD7A57}" destId="{CBE37134-99A1-4156-943E-ED8D2077CC4C}" srcOrd="0" destOrd="0" presId="urn:microsoft.com/office/officeart/2018/2/layout/IconVerticalSolidList"/>
    <dgm:cxn modelId="{878DE966-5DCD-4EDF-A079-6AF124634002}" type="presParOf" srcId="{789ACCC6-9F50-442A-828B-4D4B26BD7A57}" destId="{0B5C778C-1512-447F-9F6B-547A719C006B}" srcOrd="1" destOrd="0" presId="urn:microsoft.com/office/officeart/2018/2/layout/IconVerticalSolidList"/>
    <dgm:cxn modelId="{D3AED2E1-B59A-4597-975D-728CA0146737}" type="presParOf" srcId="{789ACCC6-9F50-442A-828B-4D4B26BD7A57}" destId="{10E8A6BF-DCE2-4700-8A84-364D5261E3A5}" srcOrd="2" destOrd="0" presId="urn:microsoft.com/office/officeart/2018/2/layout/IconVerticalSolidList"/>
    <dgm:cxn modelId="{E4447D2A-0309-4EC4-947A-AF657F26CFBA}" type="presParOf" srcId="{789ACCC6-9F50-442A-828B-4D4B26BD7A57}" destId="{7C3F1D87-E2EB-47BB-9FEA-FE5BB8C7DE9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AF71521-DCE4-429E-8F0F-E4315BCC9EF0}" type="doc">
      <dgm:prSet loTypeId="urn:microsoft.com/office/officeart/2018/2/layout/IconVerticalSolidList" loCatId="icon" qsTypeId="urn:microsoft.com/office/officeart/2005/8/quickstyle/3d4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58AF5808-24F2-4AD8-B9B2-472F1538839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l feedback ayuda a los empleados a comprender cómo su trabajo contribuye a los objetivos generales de la empresa.</a:t>
          </a:r>
        </a:p>
        <a:p>
          <a:pPr>
            <a:lnSpc>
              <a:spcPct val="100000"/>
            </a:lnSpc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sto fomenta una mayor alineación y compromiso con la visión y misión de la organización</a:t>
          </a:r>
          <a:r>
            <a:rPr lang="es-ES" sz="1500" b="0" i="0" kern="1200" dirty="0">
              <a:solidFill>
                <a:srgbClr val="111111"/>
              </a:solidFill>
              <a:effectLst/>
              <a:latin typeface="-apple-system"/>
            </a:rPr>
            <a:t>.</a:t>
          </a:r>
          <a:r>
            <a:rPr lang="es-CR" sz="1500" b="1" kern="1200" dirty="0"/>
            <a:t>	</a:t>
          </a:r>
          <a:r>
            <a:rPr lang="es-CR" sz="1500" kern="1200" dirty="0"/>
            <a:t>		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BEA8DBE9-5607-405D-AD8D-DF06B4312797}" type="parTrans" cxnId="{3D42F8E0-C57A-49BC-9D06-FF2A53F508A4}">
      <dgm:prSet/>
      <dgm:spPr/>
      <dgm:t>
        <a:bodyPr/>
        <a:lstStyle/>
        <a:p>
          <a:endParaRPr lang="en-US"/>
        </a:p>
      </dgm:t>
    </dgm:pt>
    <dgm:pt modelId="{DAFB3D84-85CC-4D26-9376-4A2A0AC97814}" type="sibTrans" cxnId="{3D42F8E0-C57A-49BC-9D06-FF2A53F508A4}">
      <dgm:prSet/>
      <dgm:spPr/>
      <dgm:t>
        <a:bodyPr/>
        <a:lstStyle/>
        <a:p>
          <a:endParaRPr lang="en-US"/>
        </a:p>
      </dgm:t>
    </dgm:pt>
    <dgm:pt modelId="{73E0E729-912C-4A13-8449-DF701A136AD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l feedback puede señalar problemas o áreas de ineficiencia en los procesos o proyectos.</a:t>
          </a:r>
        </a:p>
        <a:p>
          <a:pPr>
            <a:lnSpc>
              <a:spcPct val="100000"/>
            </a:lnSpc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l abordar estos problemas, se pueden encontrar soluciones más rápidamente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7F6B9CD-E5C2-4F97-936F-68702261A5D0}" type="parTrans" cxnId="{B55080C5-C912-48A2-824B-1E3E56A7B97D}">
      <dgm:prSet/>
      <dgm:spPr/>
      <dgm:t>
        <a:bodyPr/>
        <a:lstStyle/>
        <a:p>
          <a:endParaRPr lang="en-US"/>
        </a:p>
      </dgm:t>
    </dgm:pt>
    <dgm:pt modelId="{AA058F94-4B17-45F1-92A2-D8935F37A215}" type="sibTrans" cxnId="{B55080C5-C912-48A2-824B-1E3E56A7B97D}">
      <dgm:prSet/>
      <dgm:spPr/>
      <dgm:t>
        <a:bodyPr/>
        <a:lstStyle/>
        <a:p>
          <a:endParaRPr lang="en-US"/>
        </a:p>
      </dgm:t>
    </dgm:pt>
    <dgm:pt modelId="{F08018EC-211F-4A17-AF9C-BEA6F098C1F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a cultura de feedback constante promueve la mejora continua en todos los niveles de la organización.</a:t>
          </a:r>
        </a:p>
        <a:p>
          <a:pPr>
            <a:lnSpc>
              <a:spcPct val="100000"/>
            </a:lnSpc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os líderes y empleados se esfuerzan por aprender y crecer constantemente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6A3CED4C-CE2C-418D-BB97-93820D2928BE}" type="parTrans" cxnId="{36DC0A25-1BF3-4B81-9626-23DDF0CC8D8B}">
      <dgm:prSet/>
      <dgm:spPr/>
      <dgm:t>
        <a:bodyPr/>
        <a:lstStyle/>
        <a:p>
          <a:endParaRPr lang="en-US"/>
        </a:p>
      </dgm:t>
    </dgm:pt>
    <dgm:pt modelId="{26366C95-7121-497D-87CB-4C59D76E2E21}" type="sibTrans" cxnId="{36DC0A25-1BF3-4B81-9626-23DDF0CC8D8B}">
      <dgm:prSet/>
      <dgm:spPr/>
      <dgm:t>
        <a:bodyPr/>
        <a:lstStyle/>
        <a:p>
          <a:endParaRPr lang="en-US"/>
        </a:p>
      </dgm:t>
    </dgm:pt>
    <dgm:pt modelId="{A6B92A15-E08F-4B4B-9A9E-925E175E08BB}" type="pres">
      <dgm:prSet presAssocID="{3AF71521-DCE4-429E-8F0F-E4315BCC9EF0}" presName="root" presStyleCnt="0">
        <dgm:presLayoutVars>
          <dgm:dir/>
          <dgm:resizeHandles val="exact"/>
        </dgm:presLayoutVars>
      </dgm:prSet>
      <dgm:spPr/>
    </dgm:pt>
    <dgm:pt modelId="{42EA224E-D2EF-4FD5-8702-FFDC8FEB1CC4}" type="pres">
      <dgm:prSet presAssocID="{58AF5808-24F2-4AD8-B9B2-472F15388392}" presName="compNode" presStyleCnt="0"/>
      <dgm:spPr/>
    </dgm:pt>
    <dgm:pt modelId="{0C0455C5-A58D-4944-B7A2-F4968CCE81F4}" type="pres">
      <dgm:prSet presAssocID="{58AF5808-24F2-4AD8-B9B2-472F15388392}" presName="bgRect" presStyleLbl="bgShp" presStyleIdx="0" presStyleCnt="3" custLinFactNeighborX="-119" custLinFactNeighborY="8520"/>
      <dgm:spPr/>
    </dgm:pt>
    <dgm:pt modelId="{1D0373F3-09FA-4ACA-BC0E-D037B9790D36}" type="pres">
      <dgm:prSet presAssocID="{58AF5808-24F2-4AD8-B9B2-472F15388392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B4FA929A-06C7-4D19-A8FD-D226FC48B474}" type="pres">
      <dgm:prSet presAssocID="{58AF5808-24F2-4AD8-B9B2-472F15388392}" presName="spaceRect" presStyleCnt="0"/>
      <dgm:spPr/>
    </dgm:pt>
    <dgm:pt modelId="{237DC0ED-6121-4E1F-B81E-EF1105E6FCE6}" type="pres">
      <dgm:prSet presAssocID="{58AF5808-24F2-4AD8-B9B2-472F15388392}" presName="parTx" presStyleLbl="revTx" presStyleIdx="0" presStyleCnt="3">
        <dgm:presLayoutVars>
          <dgm:chMax val="0"/>
          <dgm:chPref val="0"/>
        </dgm:presLayoutVars>
      </dgm:prSet>
      <dgm:spPr/>
    </dgm:pt>
    <dgm:pt modelId="{A7B662FD-AB55-4765-BFAC-256EF561B4EC}" type="pres">
      <dgm:prSet presAssocID="{DAFB3D84-85CC-4D26-9376-4A2A0AC97814}" presName="sibTrans" presStyleCnt="0"/>
      <dgm:spPr/>
    </dgm:pt>
    <dgm:pt modelId="{0BB79840-3373-4893-AB9E-5B273C257BB2}" type="pres">
      <dgm:prSet presAssocID="{73E0E729-912C-4A13-8449-DF701A136AD7}" presName="compNode" presStyleCnt="0"/>
      <dgm:spPr/>
    </dgm:pt>
    <dgm:pt modelId="{89F2D1FA-02F9-4415-9C98-781C11FEEE51}" type="pres">
      <dgm:prSet presAssocID="{73E0E729-912C-4A13-8449-DF701A136AD7}" presName="bgRect" presStyleLbl="bgShp" presStyleIdx="1" presStyleCnt="3" custLinFactNeighborX="-272" custLinFactNeighborY="-586"/>
      <dgm:spPr/>
    </dgm:pt>
    <dgm:pt modelId="{108458CB-4622-4D22-BD40-5108989DB505}" type="pres">
      <dgm:prSet presAssocID="{73E0E729-912C-4A13-8449-DF701A136AD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1665335A-6922-4FD0-A5CC-3603F042D161}" type="pres">
      <dgm:prSet presAssocID="{73E0E729-912C-4A13-8449-DF701A136AD7}" presName="spaceRect" presStyleCnt="0"/>
      <dgm:spPr/>
    </dgm:pt>
    <dgm:pt modelId="{8CF4419D-E10F-4675-BBD7-675B38F48755}" type="pres">
      <dgm:prSet presAssocID="{73E0E729-912C-4A13-8449-DF701A136AD7}" presName="parTx" presStyleLbl="revTx" presStyleIdx="1" presStyleCnt="3" custLinFactNeighborX="-71" custLinFactNeighborY="-13768">
        <dgm:presLayoutVars>
          <dgm:chMax val="0"/>
          <dgm:chPref val="0"/>
        </dgm:presLayoutVars>
      </dgm:prSet>
      <dgm:spPr/>
    </dgm:pt>
    <dgm:pt modelId="{B3698402-BD27-4A19-9CF5-4A60B0B12483}" type="pres">
      <dgm:prSet presAssocID="{AA058F94-4B17-45F1-92A2-D8935F37A215}" presName="sibTrans" presStyleCnt="0"/>
      <dgm:spPr/>
    </dgm:pt>
    <dgm:pt modelId="{789ACCC6-9F50-442A-828B-4D4B26BD7A57}" type="pres">
      <dgm:prSet presAssocID="{F08018EC-211F-4A17-AF9C-BEA6F098C1F8}" presName="compNode" presStyleCnt="0"/>
      <dgm:spPr/>
    </dgm:pt>
    <dgm:pt modelId="{CBE37134-99A1-4156-943E-ED8D2077CC4C}" type="pres">
      <dgm:prSet presAssocID="{F08018EC-211F-4A17-AF9C-BEA6F098C1F8}" presName="bgRect" presStyleLbl="bgShp" presStyleIdx="2" presStyleCnt="3" custLinFactNeighborX="561" custLinFactNeighborY="-14833"/>
      <dgm:spPr/>
    </dgm:pt>
    <dgm:pt modelId="{0B5C778C-1512-447F-9F6B-547A719C006B}" type="pres">
      <dgm:prSet presAssocID="{F08018EC-211F-4A17-AF9C-BEA6F098C1F8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10E8A6BF-DCE2-4700-8A84-364D5261E3A5}" type="pres">
      <dgm:prSet presAssocID="{F08018EC-211F-4A17-AF9C-BEA6F098C1F8}" presName="spaceRect" presStyleCnt="0"/>
      <dgm:spPr/>
    </dgm:pt>
    <dgm:pt modelId="{7C3F1D87-E2EB-47BB-9FEA-FE5BB8C7DE9A}" type="pres">
      <dgm:prSet presAssocID="{F08018EC-211F-4A17-AF9C-BEA6F098C1F8}" presName="parTx" presStyleLbl="revTx" presStyleIdx="2" presStyleCnt="3" custLinFactNeighborX="62" custLinFactNeighborY="-10982">
        <dgm:presLayoutVars>
          <dgm:chMax val="0"/>
          <dgm:chPref val="0"/>
        </dgm:presLayoutVars>
      </dgm:prSet>
      <dgm:spPr/>
    </dgm:pt>
  </dgm:ptLst>
  <dgm:cxnLst>
    <dgm:cxn modelId="{36DC0A25-1BF3-4B81-9626-23DDF0CC8D8B}" srcId="{3AF71521-DCE4-429E-8F0F-E4315BCC9EF0}" destId="{F08018EC-211F-4A17-AF9C-BEA6F098C1F8}" srcOrd="2" destOrd="0" parTransId="{6A3CED4C-CE2C-418D-BB97-93820D2928BE}" sibTransId="{26366C95-7121-497D-87CB-4C59D76E2E21}"/>
    <dgm:cxn modelId="{661FAA6C-FA83-4516-A6FB-9F2F4174D2F1}" type="presOf" srcId="{58AF5808-24F2-4AD8-B9B2-472F15388392}" destId="{237DC0ED-6121-4E1F-B81E-EF1105E6FCE6}" srcOrd="0" destOrd="0" presId="urn:microsoft.com/office/officeart/2018/2/layout/IconVerticalSolidList"/>
    <dgm:cxn modelId="{2EE4426E-93EA-405E-BD1A-E9ED515F5D6D}" type="presOf" srcId="{F08018EC-211F-4A17-AF9C-BEA6F098C1F8}" destId="{7C3F1D87-E2EB-47BB-9FEA-FE5BB8C7DE9A}" srcOrd="0" destOrd="0" presId="urn:microsoft.com/office/officeart/2018/2/layout/IconVerticalSolidList"/>
    <dgm:cxn modelId="{DF6C5E7D-E155-4AE6-813D-032D7E95E869}" type="presOf" srcId="{3AF71521-DCE4-429E-8F0F-E4315BCC9EF0}" destId="{A6B92A15-E08F-4B4B-9A9E-925E175E08BB}" srcOrd="0" destOrd="0" presId="urn:microsoft.com/office/officeart/2018/2/layout/IconVerticalSolidList"/>
    <dgm:cxn modelId="{B55080C5-C912-48A2-824B-1E3E56A7B97D}" srcId="{3AF71521-DCE4-429E-8F0F-E4315BCC9EF0}" destId="{73E0E729-912C-4A13-8449-DF701A136AD7}" srcOrd="1" destOrd="0" parTransId="{C7F6B9CD-E5C2-4F97-936F-68702261A5D0}" sibTransId="{AA058F94-4B17-45F1-92A2-D8935F37A215}"/>
    <dgm:cxn modelId="{3D42F8E0-C57A-49BC-9D06-FF2A53F508A4}" srcId="{3AF71521-DCE4-429E-8F0F-E4315BCC9EF0}" destId="{58AF5808-24F2-4AD8-B9B2-472F15388392}" srcOrd="0" destOrd="0" parTransId="{BEA8DBE9-5607-405D-AD8D-DF06B4312797}" sibTransId="{DAFB3D84-85CC-4D26-9376-4A2A0AC97814}"/>
    <dgm:cxn modelId="{E8A6DBEC-C97B-4B9A-8486-D9282DB40ED4}" type="presOf" srcId="{73E0E729-912C-4A13-8449-DF701A136AD7}" destId="{8CF4419D-E10F-4675-BBD7-675B38F48755}" srcOrd="0" destOrd="0" presId="urn:microsoft.com/office/officeart/2018/2/layout/IconVerticalSolidList"/>
    <dgm:cxn modelId="{E3D46DC1-2AE2-4230-BB3B-2EA5DC1CE149}" type="presParOf" srcId="{A6B92A15-E08F-4B4B-9A9E-925E175E08BB}" destId="{42EA224E-D2EF-4FD5-8702-FFDC8FEB1CC4}" srcOrd="0" destOrd="0" presId="urn:microsoft.com/office/officeart/2018/2/layout/IconVerticalSolidList"/>
    <dgm:cxn modelId="{11002AE6-DDBF-40D9-BD62-D3943D18131B}" type="presParOf" srcId="{42EA224E-D2EF-4FD5-8702-FFDC8FEB1CC4}" destId="{0C0455C5-A58D-4944-B7A2-F4968CCE81F4}" srcOrd="0" destOrd="0" presId="urn:microsoft.com/office/officeart/2018/2/layout/IconVerticalSolidList"/>
    <dgm:cxn modelId="{7BBF6027-E2E1-40CB-AF0A-F658558EBC8D}" type="presParOf" srcId="{42EA224E-D2EF-4FD5-8702-FFDC8FEB1CC4}" destId="{1D0373F3-09FA-4ACA-BC0E-D037B9790D36}" srcOrd="1" destOrd="0" presId="urn:microsoft.com/office/officeart/2018/2/layout/IconVerticalSolidList"/>
    <dgm:cxn modelId="{5810DC88-DA69-4EB9-8FE9-D516FC6DDE5E}" type="presParOf" srcId="{42EA224E-D2EF-4FD5-8702-FFDC8FEB1CC4}" destId="{B4FA929A-06C7-4D19-A8FD-D226FC48B474}" srcOrd="2" destOrd="0" presId="urn:microsoft.com/office/officeart/2018/2/layout/IconVerticalSolidList"/>
    <dgm:cxn modelId="{86E3D28F-A834-46F4-8624-0EAA59645D68}" type="presParOf" srcId="{42EA224E-D2EF-4FD5-8702-FFDC8FEB1CC4}" destId="{237DC0ED-6121-4E1F-B81E-EF1105E6FCE6}" srcOrd="3" destOrd="0" presId="urn:microsoft.com/office/officeart/2018/2/layout/IconVerticalSolidList"/>
    <dgm:cxn modelId="{D14A2399-EB41-47D8-838A-8BCF88B9C71D}" type="presParOf" srcId="{A6B92A15-E08F-4B4B-9A9E-925E175E08BB}" destId="{A7B662FD-AB55-4765-BFAC-256EF561B4EC}" srcOrd="1" destOrd="0" presId="urn:microsoft.com/office/officeart/2018/2/layout/IconVerticalSolidList"/>
    <dgm:cxn modelId="{6A5F9683-7E85-4314-A3AD-C1FACA3C0D18}" type="presParOf" srcId="{A6B92A15-E08F-4B4B-9A9E-925E175E08BB}" destId="{0BB79840-3373-4893-AB9E-5B273C257BB2}" srcOrd="2" destOrd="0" presId="urn:microsoft.com/office/officeart/2018/2/layout/IconVerticalSolidList"/>
    <dgm:cxn modelId="{3985E212-D27F-40CE-858B-E7E9AE3D6215}" type="presParOf" srcId="{0BB79840-3373-4893-AB9E-5B273C257BB2}" destId="{89F2D1FA-02F9-4415-9C98-781C11FEEE51}" srcOrd="0" destOrd="0" presId="urn:microsoft.com/office/officeart/2018/2/layout/IconVerticalSolidList"/>
    <dgm:cxn modelId="{8548D9DD-219D-4FEA-BAC5-1E8B03AAD018}" type="presParOf" srcId="{0BB79840-3373-4893-AB9E-5B273C257BB2}" destId="{108458CB-4622-4D22-BD40-5108989DB505}" srcOrd="1" destOrd="0" presId="urn:microsoft.com/office/officeart/2018/2/layout/IconVerticalSolidList"/>
    <dgm:cxn modelId="{1080B172-2411-4756-B21D-4525A19757C0}" type="presParOf" srcId="{0BB79840-3373-4893-AB9E-5B273C257BB2}" destId="{1665335A-6922-4FD0-A5CC-3603F042D161}" srcOrd="2" destOrd="0" presId="urn:microsoft.com/office/officeart/2018/2/layout/IconVerticalSolidList"/>
    <dgm:cxn modelId="{9D3BD3BF-A99F-4B94-8A21-993E8AF8E925}" type="presParOf" srcId="{0BB79840-3373-4893-AB9E-5B273C257BB2}" destId="{8CF4419D-E10F-4675-BBD7-675B38F48755}" srcOrd="3" destOrd="0" presId="urn:microsoft.com/office/officeart/2018/2/layout/IconVerticalSolidList"/>
    <dgm:cxn modelId="{DF088BA9-C860-46B2-8D4F-7FED793450DC}" type="presParOf" srcId="{A6B92A15-E08F-4B4B-9A9E-925E175E08BB}" destId="{B3698402-BD27-4A19-9CF5-4A60B0B12483}" srcOrd="3" destOrd="0" presId="urn:microsoft.com/office/officeart/2018/2/layout/IconVerticalSolidList"/>
    <dgm:cxn modelId="{C8CF7368-9976-490E-8420-7D35DBBAFF81}" type="presParOf" srcId="{A6B92A15-E08F-4B4B-9A9E-925E175E08BB}" destId="{789ACCC6-9F50-442A-828B-4D4B26BD7A57}" srcOrd="4" destOrd="0" presId="urn:microsoft.com/office/officeart/2018/2/layout/IconVerticalSolidList"/>
    <dgm:cxn modelId="{2F574D06-CA34-493F-9DDF-C3AE0871BF5C}" type="presParOf" srcId="{789ACCC6-9F50-442A-828B-4D4B26BD7A57}" destId="{CBE37134-99A1-4156-943E-ED8D2077CC4C}" srcOrd="0" destOrd="0" presId="urn:microsoft.com/office/officeart/2018/2/layout/IconVerticalSolidList"/>
    <dgm:cxn modelId="{878DE966-5DCD-4EDF-A079-6AF124634002}" type="presParOf" srcId="{789ACCC6-9F50-442A-828B-4D4B26BD7A57}" destId="{0B5C778C-1512-447F-9F6B-547A719C006B}" srcOrd="1" destOrd="0" presId="urn:microsoft.com/office/officeart/2018/2/layout/IconVerticalSolidList"/>
    <dgm:cxn modelId="{D3AED2E1-B59A-4597-975D-728CA0146737}" type="presParOf" srcId="{789ACCC6-9F50-442A-828B-4D4B26BD7A57}" destId="{10E8A6BF-DCE2-4700-8A84-364D5261E3A5}" srcOrd="2" destOrd="0" presId="urn:microsoft.com/office/officeart/2018/2/layout/IconVerticalSolidList"/>
    <dgm:cxn modelId="{E4447D2A-0309-4EC4-947A-AF657F26CFBA}" type="presParOf" srcId="{789ACCC6-9F50-442A-828B-4D4B26BD7A57}" destId="{7C3F1D87-E2EB-47BB-9FEA-FE5BB8C7DE9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AF71521-DCE4-429E-8F0F-E4315BCC9EF0}" type="doc">
      <dgm:prSet loTypeId="urn:microsoft.com/office/officeart/2018/2/layout/IconVerticalSolidList" loCatId="icon" qsTypeId="urn:microsoft.com/office/officeart/2005/8/quickstyle/3d4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58AF5808-24F2-4AD8-B9B2-472F15388392}">
      <dgm:prSet/>
      <dgm:spPr/>
      <dgm:t>
        <a:bodyPr/>
        <a:lstStyle/>
        <a:p>
          <a:pPr>
            <a:lnSpc>
              <a:spcPct val="100000"/>
            </a:lnSpc>
          </a:pPr>
          <a:r>
            <a:rPr lang="es-CR" b="1" dirty="0"/>
            <a:t>Recibir Feedback:  Como me hizo sentir??</a:t>
          </a:r>
        </a:p>
        <a:p>
          <a:pPr>
            <a:lnSpc>
              <a:spcPct val="100000"/>
            </a:lnSpc>
          </a:pPr>
          <a:r>
            <a:rPr lang="es-CR" b="1" dirty="0"/>
            <a:t>		    </a:t>
          </a:r>
          <a:r>
            <a:rPr lang="es-AR" b="1" noProof="0" dirty="0"/>
            <a:t>Me quedo claro que comportamiento quiso resaltar??</a:t>
          </a:r>
        </a:p>
        <a:p>
          <a:pPr>
            <a:lnSpc>
              <a:spcPct val="100000"/>
            </a:lnSpc>
          </a:pPr>
          <a:r>
            <a:rPr lang="es-AR" b="1" noProof="0" dirty="0"/>
            <a:t>		    Me permitió explicar lo que me había pasado??</a:t>
          </a:r>
        </a:p>
        <a:p>
          <a:pPr>
            <a:lnSpc>
              <a:spcPct val="100000"/>
            </a:lnSpc>
          </a:pPr>
          <a:r>
            <a:rPr lang="es-AR" b="1" noProof="0" dirty="0"/>
            <a:t>		    Entendí que es lo que se espera de mi a futuro??</a:t>
          </a:r>
        </a:p>
        <a:p>
          <a:pPr>
            <a:lnSpc>
              <a:spcPct val="100000"/>
            </a:lnSpc>
          </a:pPr>
          <a:r>
            <a:rPr lang="es-AR" b="1" noProof="0" dirty="0"/>
            <a:t>				</a:t>
          </a:r>
          <a:r>
            <a:rPr lang="es-AR" noProof="0" dirty="0"/>
            <a:t>		</a:t>
          </a:r>
        </a:p>
      </dgm:t>
    </dgm:pt>
    <dgm:pt modelId="{BEA8DBE9-5607-405D-AD8D-DF06B4312797}" type="parTrans" cxnId="{3D42F8E0-C57A-49BC-9D06-FF2A53F508A4}">
      <dgm:prSet/>
      <dgm:spPr/>
      <dgm:t>
        <a:bodyPr/>
        <a:lstStyle/>
        <a:p>
          <a:endParaRPr lang="en-US"/>
        </a:p>
      </dgm:t>
    </dgm:pt>
    <dgm:pt modelId="{DAFB3D84-85CC-4D26-9376-4A2A0AC97814}" type="sibTrans" cxnId="{3D42F8E0-C57A-49BC-9D06-FF2A53F508A4}">
      <dgm:prSet/>
      <dgm:spPr/>
      <dgm:t>
        <a:bodyPr/>
        <a:lstStyle/>
        <a:p>
          <a:endParaRPr lang="en-US"/>
        </a:p>
      </dgm:t>
    </dgm:pt>
    <dgm:pt modelId="{F08018EC-211F-4A17-AF9C-BEA6F098C1F8}">
      <dgm:prSet/>
      <dgm:spPr/>
      <dgm:t>
        <a:bodyPr/>
        <a:lstStyle/>
        <a:p>
          <a:pPr>
            <a:lnSpc>
              <a:spcPct val="100000"/>
            </a:lnSpc>
          </a:pPr>
          <a:r>
            <a:rPr lang="es-CR" b="1" dirty="0"/>
            <a:t>Dar Feedback:     Como me sentí dando feedback??</a:t>
          </a:r>
        </a:p>
        <a:p>
          <a:pPr>
            <a:lnSpc>
              <a:spcPct val="100000"/>
            </a:lnSpc>
          </a:pPr>
          <a:r>
            <a:rPr lang="es-CR" b="1" dirty="0"/>
            <a:t>		Pude resaltar el  comportamiento que impacto en mi o en el Equipo??</a:t>
          </a:r>
        </a:p>
        <a:p>
          <a:pPr>
            <a:lnSpc>
              <a:spcPct val="100000"/>
            </a:lnSpc>
          </a:pPr>
          <a:r>
            <a:rPr lang="es-CR" b="1" dirty="0"/>
            <a:t>		Realice pausas para permitirle explicar las causas de su accionar??</a:t>
          </a:r>
        </a:p>
        <a:p>
          <a:pPr>
            <a:lnSpc>
              <a:spcPct val="100000"/>
            </a:lnSpc>
          </a:pPr>
          <a:r>
            <a:rPr lang="es-CR" b="1" dirty="0"/>
            <a:t>		Logre transmitir lo que se  espera de el/ella a futuro??</a:t>
          </a:r>
          <a:endParaRPr lang="en-US" dirty="0"/>
        </a:p>
      </dgm:t>
    </dgm:pt>
    <dgm:pt modelId="{6A3CED4C-CE2C-418D-BB97-93820D2928BE}" type="parTrans" cxnId="{36DC0A25-1BF3-4B81-9626-23DDF0CC8D8B}">
      <dgm:prSet/>
      <dgm:spPr/>
      <dgm:t>
        <a:bodyPr/>
        <a:lstStyle/>
        <a:p>
          <a:endParaRPr lang="en-US"/>
        </a:p>
      </dgm:t>
    </dgm:pt>
    <dgm:pt modelId="{26366C95-7121-497D-87CB-4C59D76E2E21}" type="sibTrans" cxnId="{36DC0A25-1BF3-4B81-9626-23DDF0CC8D8B}">
      <dgm:prSet/>
      <dgm:spPr/>
      <dgm:t>
        <a:bodyPr/>
        <a:lstStyle/>
        <a:p>
          <a:endParaRPr lang="en-US"/>
        </a:p>
      </dgm:t>
    </dgm:pt>
    <dgm:pt modelId="{A6B92A15-E08F-4B4B-9A9E-925E175E08BB}" type="pres">
      <dgm:prSet presAssocID="{3AF71521-DCE4-429E-8F0F-E4315BCC9EF0}" presName="root" presStyleCnt="0">
        <dgm:presLayoutVars>
          <dgm:dir/>
          <dgm:resizeHandles val="exact"/>
        </dgm:presLayoutVars>
      </dgm:prSet>
      <dgm:spPr/>
    </dgm:pt>
    <dgm:pt modelId="{42EA224E-D2EF-4FD5-8702-FFDC8FEB1CC4}" type="pres">
      <dgm:prSet presAssocID="{58AF5808-24F2-4AD8-B9B2-472F15388392}" presName="compNode" presStyleCnt="0"/>
      <dgm:spPr/>
    </dgm:pt>
    <dgm:pt modelId="{0C0455C5-A58D-4944-B7A2-F4968CCE81F4}" type="pres">
      <dgm:prSet presAssocID="{58AF5808-24F2-4AD8-B9B2-472F15388392}" presName="bgRect" presStyleLbl="bgShp" presStyleIdx="0" presStyleCnt="2"/>
      <dgm:spPr/>
    </dgm:pt>
    <dgm:pt modelId="{1D0373F3-09FA-4ACA-BC0E-D037B9790D36}" type="pres">
      <dgm:prSet presAssocID="{58AF5808-24F2-4AD8-B9B2-472F15388392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B4FA929A-06C7-4D19-A8FD-D226FC48B474}" type="pres">
      <dgm:prSet presAssocID="{58AF5808-24F2-4AD8-B9B2-472F15388392}" presName="spaceRect" presStyleCnt="0"/>
      <dgm:spPr/>
    </dgm:pt>
    <dgm:pt modelId="{237DC0ED-6121-4E1F-B81E-EF1105E6FCE6}" type="pres">
      <dgm:prSet presAssocID="{58AF5808-24F2-4AD8-B9B2-472F15388392}" presName="parTx" presStyleLbl="revTx" presStyleIdx="0" presStyleCnt="2">
        <dgm:presLayoutVars>
          <dgm:chMax val="0"/>
          <dgm:chPref val="0"/>
        </dgm:presLayoutVars>
      </dgm:prSet>
      <dgm:spPr/>
    </dgm:pt>
    <dgm:pt modelId="{A7B662FD-AB55-4765-BFAC-256EF561B4EC}" type="pres">
      <dgm:prSet presAssocID="{DAFB3D84-85CC-4D26-9376-4A2A0AC97814}" presName="sibTrans" presStyleCnt="0"/>
      <dgm:spPr/>
    </dgm:pt>
    <dgm:pt modelId="{789ACCC6-9F50-442A-828B-4D4B26BD7A57}" type="pres">
      <dgm:prSet presAssocID="{F08018EC-211F-4A17-AF9C-BEA6F098C1F8}" presName="compNode" presStyleCnt="0"/>
      <dgm:spPr/>
    </dgm:pt>
    <dgm:pt modelId="{CBE37134-99A1-4156-943E-ED8D2077CC4C}" type="pres">
      <dgm:prSet presAssocID="{F08018EC-211F-4A17-AF9C-BEA6F098C1F8}" presName="bgRect" presStyleLbl="bgShp" presStyleIdx="1" presStyleCnt="2"/>
      <dgm:spPr/>
    </dgm:pt>
    <dgm:pt modelId="{0B5C778C-1512-447F-9F6B-547A719C006B}" type="pres">
      <dgm:prSet presAssocID="{F08018EC-211F-4A17-AF9C-BEA6F098C1F8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leted with solid fill"/>
        </a:ext>
      </dgm:extLst>
    </dgm:pt>
    <dgm:pt modelId="{10E8A6BF-DCE2-4700-8A84-364D5261E3A5}" type="pres">
      <dgm:prSet presAssocID="{F08018EC-211F-4A17-AF9C-BEA6F098C1F8}" presName="spaceRect" presStyleCnt="0"/>
      <dgm:spPr/>
    </dgm:pt>
    <dgm:pt modelId="{7C3F1D87-E2EB-47BB-9FEA-FE5BB8C7DE9A}" type="pres">
      <dgm:prSet presAssocID="{F08018EC-211F-4A17-AF9C-BEA6F098C1F8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36DC0A25-1BF3-4B81-9626-23DDF0CC8D8B}" srcId="{3AF71521-DCE4-429E-8F0F-E4315BCC9EF0}" destId="{F08018EC-211F-4A17-AF9C-BEA6F098C1F8}" srcOrd="1" destOrd="0" parTransId="{6A3CED4C-CE2C-418D-BB97-93820D2928BE}" sibTransId="{26366C95-7121-497D-87CB-4C59D76E2E21}"/>
    <dgm:cxn modelId="{661FAA6C-FA83-4516-A6FB-9F2F4174D2F1}" type="presOf" srcId="{58AF5808-24F2-4AD8-B9B2-472F15388392}" destId="{237DC0ED-6121-4E1F-B81E-EF1105E6FCE6}" srcOrd="0" destOrd="0" presId="urn:microsoft.com/office/officeart/2018/2/layout/IconVerticalSolidList"/>
    <dgm:cxn modelId="{2EE4426E-93EA-405E-BD1A-E9ED515F5D6D}" type="presOf" srcId="{F08018EC-211F-4A17-AF9C-BEA6F098C1F8}" destId="{7C3F1D87-E2EB-47BB-9FEA-FE5BB8C7DE9A}" srcOrd="0" destOrd="0" presId="urn:microsoft.com/office/officeart/2018/2/layout/IconVerticalSolidList"/>
    <dgm:cxn modelId="{DF6C5E7D-E155-4AE6-813D-032D7E95E869}" type="presOf" srcId="{3AF71521-DCE4-429E-8F0F-E4315BCC9EF0}" destId="{A6B92A15-E08F-4B4B-9A9E-925E175E08BB}" srcOrd="0" destOrd="0" presId="urn:microsoft.com/office/officeart/2018/2/layout/IconVerticalSolidList"/>
    <dgm:cxn modelId="{3D42F8E0-C57A-49BC-9D06-FF2A53F508A4}" srcId="{3AF71521-DCE4-429E-8F0F-E4315BCC9EF0}" destId="{58AF5808-24F2-4AD8-B9B2-472F15388392}" srcOrd="0" destOrd="0" parTransId="{BEA8DBE9-5607-405D-AD8D-DF06B4312797}" sibTransId="{DAFB3D84-85CC-4D26-9376-4A2A0AC97814}"/>
    <dgm:cxn modelId="{E3D46DC1-2AE2-4230-BB3B-2EA5DC1CE149}" type="presParOf" srcId="{A6B92A15-E08F-4B4B-9A9E-925E175E08BB}" destId="{42EA224E-D2EF-4FD5-8702-FFDC8FEB1CC4}" srcOrd="0" destOrd="0" presId="urn:microsoft.com/office/officeart/2018/2/layout/IconVerticalSolidList"/>
    <dgm:cxn modelId="{11002AE6-DDBF-40D9-BD62-D3943D18131B}" type="presParOf" srcId="{42EA224E-D2EF-4FD5-8702-FFDC8FEB1CC4}" destId="{0C0455C5-A58D-4944-B7A2-F4968CCE81F4}" srcOrd="0" destOrd="0" presId="urn:microsoft.com/office/officeart/2018/2/layout/IconVerticalSolidList"/>
    <dgm:cxn modelId="{7BBF6027-E2E1-40CB-AF0A-F658558EBC8D}" type="presParOf" srcId="{42EA224E-D2EF-4FD5-8702-FFDC8FEB1CC4}" destId="{1D0373F3-09FA-4ACA-BC0E-D037B9790D36}" srcOrd="1" destOrd="0" presId="urn:microsoft.com/office/officeart/2018/2/layout/IconVerticalSolidList"/>
    <dgm:cxn modelId="{5810DC88-DA69-4EB9-8FE9-D516FC6DDE5E}" type="presParOf" srcId="{42EA224E-D2EF-4FD5-8702-FFDC8FEB1CC4}" destId="{B4FA929A-06C7-4D19-A8FD-D226FC48B474}" srcOrd="2" destOrd="0" presId="urn:microsoft.com/office/officeart/2018/2/layout/IconVerticalSolidList"/>
    <dgm:cxn modelId="{86E3D28F-A834-46F4-8624-0EAA59645D68}" type="presParOf" srcId="{42EA224E-D2EF-4FD5-8702-FFDC8FEB1CC4}" destId="{237DC0ED-6121-4E1F-B81E-EF1105E6FCE6}" srcOrd="3" destOrd="0" presId="urn:microsoft.com/office/officeart/2018/2/layout/IconVerticalSolidList"/>
    <dgm:cxn modelId="{D14A2399-EB41-47D8-838A-8BCF88B9C71D}" type="presParOf" srcId="{A6B92A15-E08F-4B4B-9A9E-925E175E08BB}" destId="{A7B662FD-AB55-4765-BFAC-256EF561B4EC}" srcOrd="1" destOrd="0" presId="urn:microsoft.com/office/officeart/2018/2/layout/IconVerticalSolidList"/>
    <dgm:cxn modelId="{C8CF7368-9976-490E-8420-7D35DBBAFF81}" type="presParOf" srcId="{A6B92A15-E08F-4B4B-9A9E-925E175E08BB}" destId="{789ACCC6-9F50-442A-828B-4D4B26BD7A57}" srcOrd="2" destOrd="0" presId="urn:microsoft.com/office/officeart/2018/2/layout/IconVerticalSolidList"/>
    <dgm:cxn modelId="{2F574D06-CA34-493F-9DDF-C3AE0871BF5C}" type="presParOf" srcId="{789ACCC6-9F50-442A-828B-4D4B26BD7A57}" destId="{CBE37134-99A1-4156-943E-ED8D2077CC4C}" srcOrd="0" destOrd="0" presId="urn:microsoft.com/office/officeart/2018/2/layout/IconVerticalSolidList"/>
    <dgm:cxn modelId="{878DE966-5DCD-4EDF-A079-6AF124634002}" type="presParOf" srcId="{789ACCC6-9F50-442A-828B-4D4B26BD7A57}" destId="{0B5C778C-1512-447F-9F6B-547A719C006B}" srcOrd="1" destOrd="0" presId="urn:microsoft.com/office/officeart/2018/2/layout/IconVerticalSolidList"/>
    <dgm:cxn modelId="{D3AED2E1-B59A-4597-975D-728CA0146737}" type="presParOf" srcId="{789ACCC6-9F50-442A-828B-4D4B26BD7A57}" destId="{10E8A6BF-DCE2-4700-8A84-364D5261E3A5}" srcOrd="2" destOrd="0" presId="urn:microsoft.com/office/officeart/2018/2/layout/IconVerticalSolidList"/>
    <dgm:cxn modelId="{E4447D2A-0309-4EC4-947A-AF657F26CFBA}" type="presParOf" srcId="{789ACCC6-9F50-442A-828B-4D4B26BD7A57}" destId="{7C3F1D87-E2EB-47BB-9FEA-FE5BB8C7DE9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331C2D-531C-40FC-89A1-92D1CE4AC599}">
      <dsp:nvSpPr>
        <dsp:cNvPr id="0" name=""/>
        <dsp:cNvSpPr/>
      </dsp:nvSpPr>
      <dsp:spPr>
        <a:xfrm>
          <a:off x="0" y="690005"/>
          <a:ext cx="7882484" cy="6955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900" kern="1200" dirty="0"/>
            <a:t>Conceptos básicos de FEEDBACK</a:t>
          </a:r>
          <a:endParaRPr lang="en-US" sz="2900" kern="1200" dirty="0"/>
        </a:p>
      </dsp:txBody>
      <dsp:txXfrm>
        <a:off x="33955" y="723960"/>
        <a:ext cx="7814574" cy="627655"/>
      </dsp:txXfrm>
    </dsp:sp>
    <dsp:sp modelId="{8A558E77-FB96-4788-B495-50481E854128}">
      <dsp:nvSpPr>
        <dsp:cNvPr id="0" name=""/>
        <dsp:cNvSpPr/>
      </dsp:nvSpPr>
      <dsp:spPr>
        <a:xfrm>
          <a:off x="0" y="1469090"/>
          <a:ext cx="7882484" cy="6955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900" kern="1200" dirty="0"/>
            <a:t>Internalizar e Incorporar el MODELO DE FEEDBACK</a:t>
          </a:r>
          <a:endParaRPr lang="en-US" sz="2900" kern="1200" dirty="0"/>
        </a:p>
      </dsp:txBody>
      <dsp:txXfrm>
        <a:off x="33955" y="1503045"/>
        <a:ext cx="7814574" cy="627655"/>
      </dsp:txXfrm>
    </dsp:sp>
    <dsp:sp modelId="{EF495AE4-3203-4D46-B6C5-EB8864AA4CEB}">
      <dsp:nvSpPr>
        <dsp:cNvPr id="0" name=""/>
        <dsp:cNvSpPr/>
      </dsp:nvSpPr>
      <dsp:spPr>
        <a:xfrm>
          <a:off x="0" y="2248175"/>
          <a:ext cx="7882484" cy="6955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900" kern="1200" dirty="0"/>
            <a:t>ROLE PLAY</a:t>
          </a:r>
          <a:endParaRPr lang="en-US" sz="2900" kern="1200" dirty="0"/>
        </a:p>
      </dsp:txBody>
      <dsp:txXfrm>
        <a:off x="33955" y="2282130"/>
        <a:ext cx="7814574" cy="6276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C234A8-863A-49F3-AE62-4FE68FB0FC63}">
      <dsp:nvSpPr>
        <dsp:cNvPr id="0" name=""/>
        <dsp:cNvSpPr/>
      </dsp:nvSpPr>
      <dsp:spPr>
        <a:xfrm>
          <a:off x="2886067" y="601722"/>
          <a:ext cx="4117299" cy="4117299"/>
        </a:xfrm>
        <a:prstGeom prst="blockArc">
          <a:avLst>
            <a:gd name="adj1" fmla="val 12600000"/>
            <a:gd name="adj2" fmla="val 16200000"/>
            <a:gd name="adj3" fmla="val 452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D9639C-26C4-4589-8DC7-5B5B2CC68704}">
      <dsp:nvSpPr>
        <dsp:cNvPr id="0" name=""/>
        <dsp:cNvSpPr/>
      </dsp:nvSpPr>
      <dsp:spPr>
        <a:xfrm>
          <a:off x="2886067" y="601722"/>
          <a:ext cx="4117299" cy="4117299"/>
        </a:xfrm>
        <a:prstGeom prst="blockArc">
          <a:avLst>
            <a:gd name="adj1" fmla="val 9000000"/>
            <a:gd name="adj2" fmla="val 12600000"/>
            <a:gd name="adj3" fmla="val 452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C628AE-6AA6-4D8F-AB68-952BFFA7E93A}">
      <dsp:nvSpPr>
        <dsp:cNvPr id="0" name=""/>
        <dsp:cNvSpPr/>
      </dsp:nvSpPr>
      <dsp:spPr>
        <a:xfrm>
          <a:off x="2886067" y="601722"/>
          <a:ext cx="4117299" cy="4117299"/>
        </a:xfrm>
        <a:prstGeom prst="blockArc">
          <a:avLst>
            <a:gd name="adj1" fmla="val 5400000"/>
            <a:gd name="adj2" fmla="val 9000000"/>
            <a:gd name="adj3" fmla="val 452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72D01C-CD69-4D4C-ACF8-F075FC3284C9}">
      <dsp:nvSpPr>
        <dsp:cNvPr id="0" name=""/>
        <dsp:cNvSpPr/>
      </dsp:nvSpPr>
      <dsp:spPr>
        <a:xfrm>
          <a:off x="2886067" y="601722"/>
          <a:ext cx="4117299" cy="4117299"/>
        </a:xfrm>
        <a:prstGeom prst="blockArc">
          <a:avLst>
            <a:gd name="adj1" fmla="val 1800000"/>
            <a:gd name="adj2" fmla="val 5400000"/>
            <a:gd name="adj3" fmla="val 452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D624E7-7391-4903-90A6-9D56A65180F1}">
      <dsp:nvSpPr>
        <dsp:cNvPr id="0" name=""/>
        <dsp:cNvSpPr/>
      </dsp:nvSpPr>
      <dsp:spPr>
        <a:xfrm>
          <a:off x="2886067" y="601722"/>
          <a:ext cx="4117299" cy="4117299"/>
        </a:xfrm>
        <a:prstGeom prst="blockArc">
          <a:avLst>
            <a:gd name="adj1" fmla="val 19800000"/>
            <a:gd name="adj2" fmla="val 1800000"/>
            <a:gd name="adj3" fmla="val 452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589778-8E7A-42EC-A719-C136F923F4E9}">
      <dsp:nvSpPr>
        <dsp:cNvPr id="0" name=""/>
        <dsp:cNvSpPr/>
      </dsp:nvSpPr>
      <dsp:spPr>
        <a:xfrm>
          <a:off x="2886067" y="601722"/>
          <a:ext cx="4117299" cy="4117299"/>
        </a:xfrm>
        <a:prstGeom prst="blockArc">
          <a:avLst>
            <a:gd name="adj1" fmla="val 16200000"/>
            <a:gd name="adj2" fmla="val 19800000"/>
            <a:gd name="adj3" fmla="val 452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D730A9-BF6B-4A32-A1E0-C6AD1BDADF5C}">
      <dsp:nvSpPr>
        <dsp:cNvPr id="0" name=""/>
        <dsp:cNvSpPr/>
      </dsp:nvSpPr>
      <dsp:spPr>
        <a:xfrm>
          <a:off x="4019997" y="1735651"/>
          <a:ext cx="1849440" cy="1849440"/>
        </a:xfrm>
        <a:prstGeom prst="ellipse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800" b="1" kern="1200" dirty="0">
              <a:solidFill>
                <a:schemeClr val="bg1"/>
              </a:solidFill>
            </a:rPr>
            <a:t>FEEDBACK</a:t>
          </a:r>
        </a:p>
      </dsp:txBody>
      <dsp:txXfrm>
        <a:off x="4290841" y="2006495"/>
        <a:ext cx="1307752" cy="1307752"/>
      </dsp:txXfrm>
    </dsp:sp>
    <dsp:sp modelId="{A8107BF2-AE57-4DF4-B636-0F1BCA384AC7}">
      <dsp:nvSpPr>
        <dsp:cNvPr id="0" name=""/>
        <dsp:cNvSpPr/>
      </dsp:nvSpPr>
      <dsp:spPr>
        <a:xfrm>
          <a:off x="4297413" y="1024"/>
          <a:ext cx="1294608" cy="1294608"/>
        </a:xfrm>
        <a:prstGeom prst="ellipse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b="1" i="0" kern="1200" dirty="0">
              <a:solidFill>
                <a:schemeClr val="tx1"/>
              </a:solidFill>
              <a:effectLst/>
              <a:latin typeface="-apple-system"/>
            </a:rPr>
            <a:t>Mejora del Desempeño Individual</a:t>
          </a:r>
          <a:endParaRPr lang="es-AR" sz="1200" kern="1200" dirty="0">
            <a:solidFill>
              <a:schemeClr val="tx1"/>
            </a:solidFill>
          </a:endParaRPr>
        </a:p>
      </dsp:txBody>
      <dsp:txXfrm>
        <a:off x="4487004" y="190615"/>
        <a:ext cx="915426" cy="915426"/>
      </dsp:txXfrm>
    </dsp:sp>
    <dsp:sp modelId="{31DE23ED-3EBF-481F-AFF5-E7BF4194F376}">
      <dsp:nvSpPr>
        <dsp:cNvPr id="0" name=""/>
        <dsp:cNvSpPr/>
      </dsp:nvSpPr>
      <dsp:spPr>
        <a:xfrm>
          <a:off x="6039894" y="1007046"/>
          <a:ext cx="1294608" cy="1294608"/>
        </a:xfrm>
        <a:prstGeom prst="ellipse">
          <a:avLst/>
        </a:prstGeom>
        <a:solidFill>
          <a:schemeClr val="accent3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ES" sz="1200" b="1" i="0" kern="1200" dirty="0">
              <a:solidFill>
                <a:schemeClr val="tx1"/>
              </a:solidFill>
              <a:effectLst/>
              <a:latin typeface="-apple-system"/>
            </a:rPr>
            <a:t>Motivación y Compromiso</a:t>
          </a:r>
          <a:endParaRPr lang="es-AR" sz="1200" kern="1200" dirty="0">
            <a:solidFill>
              <a:schemeClr val="tx1"/>
            </a:solidFill>
          </a:endParaRPr>
        </a:p>
      </dsp:txBody>
      <dsp:txXfrm>
        <a:off x="6229485" y="1196637"/>
        <a:ext cx="915426" cy="915426"/>
      </dsp:txXfrm>
    </dsp:sp>
    <dsp:sp modelId="{62EE8605-EA53-47A6-871E-86A42F5C436D}">
      <dsp:nvSpPr>
        <dsp:cNvPr id="0" name=""/>
        <dsp:cNvSpPr/>
      </dsp:nvSpPr>
      <dsp:spPr>
        <a:xfrm>
          <a:off x="6039894" y="3019089"/>
          <a:ext cx="1294608" cy="1294608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ES" sz="1200" b="1" i="0" kern="1200" baseline="0" dirty="0">
              <a:solidFill>
                <a:schemeClr val="tx1"/>
              </a:solidFill>
              <a:effectLst/>
              <a:latin typeface="-apple-system"/>
            </a:rPr>
            <a:t>Desarrollo</a:t>
          </a:r>
          <a:r>
            <a:rPr lang="es-ES" sz="1200" b="1" i="0" kern="1200" dirty="0">
              <a:solidFill>
                <a:schemeClr val="tx1"/>
              </a:solidFill>
              <a:effectLst/>
              <a:latin typeface="-apple-system"/>
            </a:rPr>
            <a:t> Profesional</a:t>
          </a:r>
          <a:endParaRPr lang="es-AR" sz="1200" kern="1200" dirty="0">
            <a:solidFill>
              <a:schemeClr val="tx1"/>
            </a:solidFill>
          </a:endParaRPr>
        </a:p>
      </dsp:txBody>
      <dsp:txXfrm>
        <a:off x="6229485" y="3208680"/>
        <a:ext cx="915426" cy="915426"/>
      </dsp:txXfrm>
    </dsp:sp>
    <dsp:sp modelId="{110BC8EE-DF2F-486C-8159-4D1826032366}">
      <dsp:nvSpPr>
        <dsp:cNvPr id="0" name=""/>
        <dsp:cNvSpPr/>
      </dsp:nvSpPr>
      <dsp:spPr>
        <a:xfrm>
          <a:off x="4297413" y="4025111"/>
          <a:ext cx="1294608" cy="1294608"/>
        </a:xfrm>
        <a:prstGeom prst="ellipse">
          <a:avLst/>
        </a:prstGeom>
        <a:solidFill>
          <a:schemeClr val="accent5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ES" sz="1050" b="1" i="0" kern="1200" dirty="0">
              <a:solidFill>
                <a:schemeClr val="tx1"/>
              </a:solidFill>
              <a:effectLst/>
              <a:latin typeface="-apple-system"/>
            </a:rPr>
            <a:t>Mejora de Relaciones Interpersonales</a:t>
          </a:r>
          <a:endParaRPr lang="es-AR" sz="1050" kern="1200" dirty="0">
            <a:solidFill>
              <a:schemeClr val="tx1"/>
            </a:solidFill>
          </a:endParaRPr>
        </a:p>
      </dsp:txBody>
      <dsp:txXfrm>
        <a:off x="4487004" y="4214702"/>
        <a:ext cx="915426" cy="915426"/>
      </dsp:txXfrm>
    </dsp:sp>
    <dsp:sp modelId="{77CF8915-D2FB-4369-BA50-6C6C385555CC}">
      <dsp:nvSpPr>
        <dsp:cNvPr id="0" name=""/>
        <dsp:cNvSpPr/>
      </dsp:nvSpPr>
      <dsp:spPr>
        <a:xfrm>
          <a:off x="2554932" y="3019089"/>
          <a:ext cx="1294608" cy="1294608"/>
        </a:xfrm>
        <a:prstGeom prst="ellipse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b="1" i="0" kern="1200" dirty="0">
              <a:solidFill>
                <a:schemeClr val="tx1"/>
              </a:solidFill>
            </a:rPr>
            <a:t>Identificación de Problemas y Soluciones</a:t>
          </a:r>
          <a:endParaRPr lang="es-AR" sz="1200" kern="1200" dirty="0">
            <a:solidFill>
              <a:schemeClr val="tx1"/>
            </a:solidFill>
          </a:endParaRPr>
        </a:p>
      </dsp:txBody>
      <dsp:txXfrm>
        <a:off x="2744523" y="3208680"/>
        <a:ext cx="915426" cy="915426"/>
      </dsp:txXfrm>
    </dsp:sp>
    <dsp:sp modelId="{7F82C432-1671-4A25-B8D8-321EAD00D9D6}">
      <dsp:nvSpPr>
        <dsp:cNvPr id="0" name=""/>
        <dsp:cNvSpPr/>
      </dsp:nvSpPr>
      <dsp:spPr>
        <a:xfrm>
          <a:off x="2554932" y="1007046"/>
          <a:ext cx="1294608" cy="1294608"/>
        </a:xfrm>
        <a:prstGeom prst="ellipse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b="1" i="0" kern="1200" dirty="0">
              <a:solidFill>
                <a:schemeClr val="bg1"/>
              </a:solidFill>
            </a:rPr>
            <a:t>Cultura de Mejora Continua</a:t>
          </a:r>
          <a:endParaRPr lang="es-AR" sz="1200" kern="1200" dirty="0">
            <a:solidFill>
              <a:schemeClr val="bg1"/>
            </a:solidFill>
          </a:endParaRPr>
        </a:p>
      </dsp:txBody>
      <dsp:txXfrm>
        <a:off x="2744523" y="1196637"/>
        <a:ext cx="915426" cy="9154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0455C5-A58D-4944-B7A2-F4968CCE81F4}">
      <dsp:nvSpPr>
        <dsp:cNvPr id="0" name=""/>
        <dsp:cNvSpPr/>
      </dsp:nvSpPr>
      <dsp:spPr>
        <a:xfrm>
          <a:off x="0" y="0"/>
          <a:ext cx="10980820" cy="1011872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0373F3-09FA-4ACA-BC0E-D037B9790D36}">
      <dsp:nvSpPr>
        <dsp:cNvPr id="0" name=""/>
        <dsp:cNvSpPr/>
      </dsp:nvSpPr>
      <dsp:spPr>
        <a:xfrm>
          <a:off x="306091" y="229788"/>
          <a:ext cx="557073" cy="55652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7DC0ED-6121-4E1F-B81E-EF1105E6FCE6}">
      <dsp:nvSpPr>
        <dsp:cNvPr id="0" name=""/>
        <dsp:cNvSpPr/>
      </dsp:nvSpPr>
      <dsp:spPr>
        <a:xfrm>
          <a:off x="1169256" y="2117"/>
          <a:ext cx="9687676" cy="10128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194" tIns="107194" rIns="107194" bIns="107194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Proporciona información específica sobre el rendimiento/actuación  de un empleado. </a:t>
          </a:r>
          <a:endParaRPr lang="es-ES" sz="1400" kern="1200" dirty="0">
            <a:solidFill>
              <a:srgbClr val="11111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Permite identificar áreas de mejora y fortalezas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Al recibir comentarios constructivos, los empleados pueden ajustar su enfoque y trabajar hacia metas más claras y efectivas.</a:t>
          </a:r>
          <a:r>
            <a:rPr lang="es-CR" sz="1400" b="1" kern="1200" dirty="0"/>
            <a:t>				</a:t>
          </a:r>
          <a:r>
            <a:rPr lang="es-CR" sz="1400" kern="1200" dirty="0"/>
            <a:t>		</a:t>
          </a:r>
          <a:endParaRPr lang="en-US" sz="1400" kern="1200" dirty="0"/>
        </a:p>
      </dsp:txBody>
      <dsp:txXfrm>
        <a:off x="1169256" y="2117"/>
        <a:ext cx="9687676" cy="1012861"/>
      </dsp:txXfrm>
    </dsp:sp>
    <dsp:sp modelId="{89F2D1FA-02F9-4415-9C98-781C11FEEE51}">
      <dsp:nvSpPr>
        <dsp:cNvPr id="0" name=""/>
        <dsp:cNvSpPr/>
      </dsp:nvSpPr>
      <dsp:spPr>
        <a:xfrm>
          <a:off x="0" y="1081126"/>
          <a:ext cx="10980820" cy="1011872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8458CB-4622-4D22-BD40-5108989DB505}">
      <dsp:nvSpPr>
        <dsp:cNvPr id="0" name=""/>
        <dsp:cNvSpPr/>
      </dsp:nvSpPr>
      <dsp:spPr>
        <a:xfrm>
          <a:off x="306091" y="1455883"/>
          <a:ext cx="557073" cy="55652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F4419D-E10F-4675-BBD7-675B38F48755}">
      <dsp:nvSpPr>
        <dsp:cNvPr id="0" name=""/>
        <dsp:cNvSpPr/>
      </dsp:nvSpPr>
      <dsp:spPr>
        <a:xfrm>
          <a:off x="1162378" y="1088761"/>
          <a:ext cx="9687676" cy="10128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194" tIns="107194" rIns="107194" bIns="107194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l feedback ayuda a los empleados a identificar oportunidades de crecimiento y desarrollo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uede guiar la capacitación y el aprendizaje continuo, permitiendo a los empleados adquirir nuevas habilidades y conocimientos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62378" y="1088761"/>
        <a:ext cx="9687676" cy="1012861"/>
      </dsp:txXfrm>
    </dsp:sp>
    <dsp:sp modelId="{CBE37134-99A1-4156-943E-ED8D2077CC4C}">
      <dsp:nvSpPr>
        <dsp:cNvPr id="0" name=""/>
        <dsp:cNvSpPr/>
      </dsp:nvSpPr>
      <dsp:spPr>
        <a:xfrm>
          <a:off x="0" y="2246772"/>
          <a:ext cx="10980820" cy="1011872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C778C-1512-447F-9F6B-547A719C006B}">
      <dsp:nvSpPr>
        <dsp:cNvPr id="0" name=""/>
        <dsp:cNvSpPr/>
      </dsp:nvSpPr>
      <dsp:spPr>
        <a:xfrm>
          <a:off x="306091" y="2681978"/>
          <a:ext cx="557073" cy="55652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F1D87-E2EB-47BB-9FEA-FE5BB8C7DE9A}">
      <dsp:nvSpPr>
        <dsp:cNvPr id="0" name=""/>
        <dsp:cNvSpPr/>
      </dsp:nvSpPr>
      <dsp:spPr>
        <a:xfrm>
          <a:off x="1150074" y="2219809"/>
          <a:ext cx="9687676" cy="10128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194" tIns="107194" rIns="107194" bIns="107194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El </a:t>
          </a: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eedback promueve la comunicación abierta y honesta entre colegas y líderes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l resolver conflictos y comprender las perspectivas de los demás, se fortalecen las relaciones laborales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50074" y="2219809"/>
        <a:ext cx="9687676" cy="10128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0455C5-A58D-4944-B7A2-F4968CCE81F4}">
      <dsp:nvSpPr>
        <dsp:cNvPr id="0" name=""/>
        <dsp:cNvSpPr/>
      </dsp:nvSpPr>
      <dsp:spPr>
        <a:xfrm>
          <a:off x="0" y="84855"/>
          <a:ext cx="10980820" cy="990982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0373F3-09FA-4ACA-BC0E-D037B9790D36}">
      <dsp:nvSpPr>
        <dsp:cNvPr id="0" name=""/>
        <dsp:cNvSpPr/>
      </dsp:nvSpPr>
      <dsp:spPr>
        <a:xfrm>
          <a:off x="299772" y="223394"/>
          <a:ext cx="545040" cy="54504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7DC0ED-6121-4E1F-B81E-EF1105E6FCE6}">
      <dsp:nvSpPr>
        <dsp:cNvPr id="0" name=""/>
        <dsp:cNvSpPr/>
      </dsp:nvSpPr>
      <dsp:spPr>
        <a:xfrm>
          <a:off x="1144584" y="423"/>
          <a:ext cx="9836235" cy="990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879" tIns="104879" rIns="104879" bIns="104879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l feedback ayuda a los empleados a comprender cómo su trabajo contribuye a los objetivos generales de la empresa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sto fomenta una mayor alineación y compromiso con la visión y misión de la organización</a:t>
          </a:r>
          <a:r>
            <a:rPr lang="es-ES" sz="1500" b="0" i="0" kern="1200" dirty="0">
              <a:solidFill>
                <a:srgbClr val="111111"/>
              </a:solidFill>
              <a:effectLst/>
              <a:latin typeface="-apple-system"/>
            </a:rPr>
            <a:t>.</a:t>
          </a:r>
          <a:r>
            <a:rPr lang="es-CR" sz="1500" b="1" kern="1200" dirty="0"/>
            <a:t>	</a:t>
          </a:r>
          <a:r>
            <a:rPr lang="es-CR" sz="1500" kern="1200" dirty="0"/>
            <a:t>		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44584" y="423"/>
        <a:ext cx="9836235" cy="990982"/>
      </dsp:txXfrm>
    </dsp:sp>
    <dsp:sp modelId="{89F2D1FA-02F9-4415-9C98-781C11FEEE51}">
      <dsp:nvSpPr>
        <dsp:cNvPr id="0" name=""/>
        <dsp:cNvSpPr/>
      </dsp:nvSpPr>
      <dsp:spPr>
        <a:xfrm>
          <a:off x="0" y="1233344"/>
          <a:ext cx="10980820" cy="990982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8458CB-4622-4D22-BD40-5108989DB505}">
      <dsp:nvSpPr>
        <dsp:cNvPr id="0" name=""/>
        <dsp:cNvSpPr/>
      </dsp:nvSpPr>
      <dsp:spPr>
        <a:xfrm>
          <a:off x="299772" y="1462122"/>
          <a:ext cx="545040" cy="54504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F4419D-E10F-4675-BBD7-675B38F48755}">
      <dsp:nvSpPr>
        <dsp:cNvPr id="0" name=""/>
        <dsp:cNvSpPr/>
      </dsp:nvSpPr>
      <dsp:spPr>
        <a:xfrm>
          <a:off x="1137601" y="1102713"/>
          <a:ext cx="9836235" cy="990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879" tIns="104879" rIns="104879" bIns="104879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l feedback puede señalar problemas o áreas de ineficiencia en los procesos o proyectos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l abordar estos problemas, se pueden encontrar soluciones más rápidamente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37601" y="1102713"/>
        <a:ext cx="9836235" cy="990982"/>
      </dsp:txXfrm>
    </dsp:sp>
    <dsp:sp modelId="{CBE37134-99A1-4156-943E-ED8D2077CC4C}">
      <dsp:nvSpPr>
        <dsp:cNvPr id="0" name=""/>
        <dsp:cNvSpPr/>
      </dsp:nvSpPr>
      <dsp:spPr>
        <a:xfrm>
          <a:off x="0" y="2330887"/>
          <a:ext cx="10980820" cy="990982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C778C-1512-447F-9F6B-547A719C006B}">
      <dsp:nvSpPr>
        <dsp:cNvPr id="0" name=""/>
        <dsp:cNvSpPr/>
      </dsp:nvSpPr>
      <dsp:spPr>
        <a:xfrm>
          <a:off x="299772" y="2700851"/>
          <a:ext cx="545040" cy="54504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F1D87-E2EB-47BB-9FEA-FE5BB8C7DE9A}">
      <dsp:nvSpPr>
        <dsp:cNvPr id="0" name=""/>
        <dsp:cNvSpPr/>
      </dsp:nvSpPr>
      <dsp:spPr>
        <a:xfrm>
          <a:off x="1144584" y="2369050"/>
          <a:ext cx="9836235" cy="990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879" tIns="104879" rIns="104879" bIns="104879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a cultura de feedback constante promueve la mejora continua en todos los niveles de la organización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0" i="0" kern="1200" dirty="0">
              <a:solidFill>
                <a:srgbClr val="11111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os líderes y empleados se esfuerzan por aprender y crecer constantemente.</a:t>
          </a:r>
          <a:endParaRPr lang="en-US" sz="1400" b="0" i="0" kern="1200" dirty="0">
            <a:solidFill>
              <a:srgbClr val="11111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44584" y="2369050"/>
        <a:ext cx="9836235" cy="99098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0455C5-A58D-4944-B7A2-F4968CCE81F4}">
      <dsp:nvSpPr>
        <dsp:cNvPr id="0" name=""/>
        <dsp:cNvSpPr/>
      </dsp:nvSpPr>
      <dsp:spPr>
        <a:xfrm>
          <a:off x="0" y="1217"/>
          <a:ext cx="10980820" cy="1615905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0373F3-09FA-4ACA-BC0E-D037B9790D36}">
      <dsp:nvSpPr>
        <dsp:cNvPr id="0" name=""/>
        <dsp:cNvSpPr/>
      </dsp:nvSpPr>
      <dsp:spPr>
        <a:xfrm>
          <a:off x="488811" y="364796"/>
          <a:ext cx="888747" cy="88874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7DC0ED-6121-4E1F-B81E-EF1105E6FCE6}">
      <dsp:nvSpPr>
        <dsp:cNvPr id="0" name=""/>
        <dsp:cNvSpPr/>
      </dsp:nvSpPr>
      <dsp:spPr>
        <a:xfrm>
          <a:off x="1866370" y="1217"/>
          <a:ext cx="9019329" cy="16159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017" tIns="171017" rIns="171017" bIns="171017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R" sz="1400" b="1" kern="1200" dirty="0"/>
            <a:t>Recibir Feedback:  Como me hizo sentir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R" sz="1400" b="1" kern="1200" dirty="0"/>
            <a:t>		    </a:t>
          </a:r>
          <a:r>
            <a:rPr lang="es-AR" sz="1400" b="1" kern="1200" noProof="0" dirty="0"/>
            <a:t>Me quedo claro que comportamiento quiso resaltar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400" b="1" kern="1200" noProof="0" dirty="0"/>
            <a:t>		    Me permitió explicar lo que me había pasado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400" b="1" kern="1200" noProof="0" dirty="0"/>
            <a:t>		    Entendí que es lo que se espera de mi a futuro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400" b="1" kern="1200" noProof="0" dirty="0"/>
            <a:t>				</a:t>
          </a:r>
          <a:r>
            <a:rPr lang="es-AR" sz="1400" kern="1200" noProof="0" dirty="0"/>
            <a:t>		</a:t>
          </a:r>
        </a:p>
      </dsp:txBody>
      <dsp:txXfrm>
        <a:off x="1866370" y="1217"/>
        <a:ext cx="9019329" cy="1615905"/>
      </dsp:txXfrm>
    </dsp:sp>
    <dsp:sp modelId="{CBE37134-99A1-4156-943E-ED8D2077CC4C}">
      <dsp:nvSpPr>
        <dsp:cNvPr id="0" name=""/>
        <dsp:cNvSpPr/>
      </dsp:nvSpPr>
      <dsp:spPr>
        <a:xfrm>
          <a:off x="0" y="1852163"/>
          <a:ext cx="10980820" cy="1615905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C778C-1512-447F-9F6B-547A719C006B}">
      <dsp:nvSpPr>
        <dsp:cNvPr id="0" name=""/>
        <dsp:cNvSpPr/>
      </dsp:nvSpPr>
      <dsp:spPr>
        <a:xfrm>
          <a:off x="488811" y="2215742"/>
          <a:ext cx="888747" cy="88874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F1D87-E2EB-47BB-9FEA-FE5BB8C7DE9A}">
      <dsp:nvSpPr>
        <dsp:cNvPr id="0" name=""/>
        <dsp:cNvSpPr/>
      </dsp:nvSpPr>
      <dsp:spPr>
        <a:xfrm>
          <a:off x="1866370" y="1852163"/>
          <a:ext cx="9019329" cy="16159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017" tIns="171017" rIns="171017" bIns="171017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R" sz="1400" b="1" kern="1200" dirty="0"/>
            <a:t>Dar Feedback:     Como me sentí dando feedback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R" sz="1400" b="1" kern="1200" dirty="0"/>
            <a:t>		Pude resaltar el  comportamiento que impacto en mi o en el Equipo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R" sz="1400" b="1" kern="1200" dirty="0"/>
            <a:t>		Realice pausas para permitirle explicar las causas de su accionar??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R" sz="1400" b="1" kern="1200" dirty="0"/>
            <a:t>		Logre transmitir lo que se  espera de el/ella a futuro??</a:t>
          </a:r>
          <a:endParaRPr lang="en-US" sz="1400" kern="1200" dirty="0"/>
        </a:p>
      </dsp:txBody>
      <dsp:txXfrm>
        <a:off x="1866370" y="1852163"/>
        <a:ext cx="9019329" cy="16159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DD98F-980A-4FCD-DAAA-9E690F33E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80A018-BBE0-0F24-DFE2-4FE4F1A5F4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0F9A60-81D6-6799-DCD2-AB4E0DA8D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F82B2C-6CFC-AB00-E41D-6D22D2863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C73455-69A5-2031-0E56-8C87486F9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353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526F4-C00A-6C55-75D0-908DBE1E0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AF2C9A-3235-EF5D-86C1-6BEFBF60C3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72075-3B34-3520-8F12-B1468FD61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DF9FF-9BAB-34D6-E777-6E2A54C86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BFFE9A-5F48-70E7-67E9-19B3C6B84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284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8E3985-BA57-9F7C-7819-AC6B614FC0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99206B-EBD3-56AC-C297-BC99EADF57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7BEFCC-1367-9D01-EEBC-133520E6F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6E47E-4993-3156-498C-3463187AD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619B84-742D-DE75-D613-345BFD8D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869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/ Radial Bug_Inno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>
            <a:extLst>
              <a:ext uri="{FF2B5EF4-FFF2-40B4-BE49-F238E27FC236}">
                <a16:creationId xmlns:a16="http://schemas.microsoft.com/office/drawing/2014/main" id="{43EEF2BB-3843-DED0-DC50-A98A6E4AB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764" y="3429000"/>
            <a:ext cx="4298005" cy="7921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>
                <a:solidFill>
                  <a:schemeClr val="bg1"/>
                </a:solidFill>
                <a:latin typeface="Lato" panose="020F050202020403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C28155D-C6E6-4741-BE78-E850863875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764" y="2938716"/>
            <a:ext cx="4298005" cy="331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Lato" panose="020F050202020403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JANUARY 1, 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3D9957-7287-ADF1-5F98-2E56B7422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2"/>
          <a:stretch/>
        </p:blipFill>
        <p:spPr>
          <a:xfrm>
            <a:off x="6765450" y="0"/>
            <a:ext cx="542655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EF0D4E2-7282-CC27-D2C5-7507952728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764" y="644237"/>
            <a:ext cx="2420563" cy="31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694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/ Scallop_Inno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439455C-6FF7-B8D5-A58F-23FBABC5310D}"/>
              </a:ext>
            </a:extLst>
          </p:cNvPr>
          <p:cNvSpPr/>
          <p:nvPr userDrawn="1"/>
        </p:nvSpPr>
        <p:spPr>
          <a:xfrm>
            <a:off x="9560904" y="0"/>
            <a:ext cx="2631096" cy="6858000"/>
          </a:xfrm>
          <a:custGeom>
            <a:avLst/>
            <a:gdLst>
              <a:gd name="connsiteX0" fmla="*/ 0 w 2631096"/>
              <a:gd name="connsiteY0" fmla="*/ 0 h 6858000"/>
              <a:gd name="connsiteX1" fmla="*/ 2631096 w 2631096"/>
              <a:gd name="connsiteY1" fmla="*/ 0 h 6858000"/>
              <a:gd name="connsiteX2" fmla="*/ 2631096 w 2631096"/>
              <a:gd name="connsiteY2" fmla="*/ 6858000 h 6858000"/>
              <a:gd name="connsiteX3" fmla="*/ 0 w 2631096"/>
              <a:gd name="connsiteY3" fmla="*/ 6858000 h 6858000"/>
              <a:gd name="connsiteX4" fmla="*/ 0 w 2631096"/>
              <a:gd name="connsiteY4" fmla="*/ 0 h 6858000"/>
              <a:gd name="connsiteX0" fmla="*/ 0 w 2631096"/>
              <a:gd name="connsiteY0" fmla="*/ 0 h 6858000"/>
              <a:gd name="connsiteX1" fmla="*/ 2631096 w 2631096"/>
              <a:gd name="connsiteY1" fmla="*/ 0 h 6858000"/>
              <a:gd name="connsiteX2" fmla="*/ 2631096 w 2631096"/>
              <a:gd name="connsiteY2" fmla="*/ 6858000 h 6858000"/>
              <a:gd name="connsiteX3" fmla="*/ 0 w 2631096"/>
              <a:gd name="connsiteY3" fmla="*/ 6858000 h 6858000"/>
              <a:gd name="connsiteX4" fmla="*/ 0 w 2631096"/>
              <a:gd name="connsiteY4" fmla="*/ 0 h 6858000"/>
              <a:gd name="connsiteX0" fmla="*/ 0 w 2631096"/>
              <a:gd name="connsiteY0" fmla="*/ 0 h 6858000"/>
              <a:gd name="connsiteX1" fmla="*/ 2631096 w 2631096"/>
              <a:gd name="connsiteY1" fmla="*/ 0 h 6858000"/>
              <a:gd name="connsiteX2" fmla="*/ 2631096 w 2631096"/>
              <a:gd name="connsiteY2" fmla="*/ 6858000 h 6858000"/>
              <a:gd name="connsiteX3" fmla="*/ 0 w 2631096"/>
              <a:gd name="connsiteY3" fmla="*/ 6858000 h 6858000"/>
              <a:gd name="connsiteX4" fmla="*/ 0 w 2631096"/>
              <a:gd name="connsiteY4" fmla="*/ 0 h 6858000"/>
              <a:gd name="connsiteX0" fmla="*/ 0 w 2631096"/>
              <a:gd name="connsiteY0" fmla="*/ 0 h 6858000"/>
              <a:gd name="connsiteX1" fmla="*/ 2631096 w 2631096"/>
              <a:gd name="connsiteY1" fmla="*/ 0 h 6858000"/>
              <a:gd name="connsiteX2" fmla="*/ 2631096 w 2631096"/>
              <a:gd name="connsiteY2" fmla="*/ 6858000 h 6858000"/>
              <a:gd name="connsiteX3" fmla="*/ 0 w 2631096"/>
              <a:gd name="connsiteY3" fmla="*/ 6858000 h 6858000"/>
              <a:gd name="connsiteX4" fmla="*/ 0 w 2631096"/>
              <a:gd name="connsiteY4" fmla="*/ 0 h 6858000"/>
              <a:gd name="connsiteX0" fmla="*/ 0 w 2631096"/>
              <a:gd name="connsiteY0" fmla="*/ 0 h 6858000"/>
              <a:gd name="connsiteX1" fmla="*/ 2631096 w 2631096"/>
              <a:gd name="connsiteY1" fmla="*/ 0 h 6858000"/>
              <a:gd name="connsiteX2" fmla="*/ 2631096 w 2631096"/>
              <a:gd name="connsiteY2" fmla="*/ 6858000 h 6858000"/>
              <a:gd name="connsiteX3" fmla="*/ 0 w 2631096"/>
              <a:gd name="connsiteY3" fmla="*/ 6858000 h 6858000"/>
              <a:gd name="connsiteX4" fmla="*/ 0 w 263109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1096" h="6858000">
                <a:moveTo>
                  <a:pt x="0" y="0"/>
                </a:moveTo>
                <a:lnTo>
                  <a:pt x="2631096" y="0"/>
                </a:lnTo>
                <a:lnTo>
                  <a:pt x="2631096" y="6858000"/>
                </a:lnTo>
                <a:lnTo>
                  <a:pt x="0" y="6858000"/>
                </a:lnTo>
                <a:cubicBezTo>
                  <a:pt x="408563" y="4815191"/>
                  <a:pt x="564205" y="2422188"/>
                  <a:pt x="0" y="0"/>
                </a:cubicBezTo>
                <a:close/>
              </a:path>
            </a:pathLst>
          </a:custGeom>
          <a:solidFill>
            <a:srgbClr val="AABFE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baseline="-25000" dirty="0"/>
          </a:p>
        </p:txBody>
      </p:sp>
      <p:pic>
        <p:nvPicPr>
          <p:cNvPr id="11" name="Picture 10" descr="A blue and black logo&#10;&#10;Description automatically generated">
            <a:extLst>
              <a:ext uri="{FF2B5EF4-FFF2-40B4-BE49-F238E27FC236}">
                <a16:creationId xmlns:a16="http://schemas.microsoft.com/office/drawing/2014/main" id="{8A9424D8-F871-1342-F7EF-6CA65D5100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463" y="6316302"/>
            <a:ext cx="2420566" cy="31309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6230A5C-ED8C-8B8E-C6D4-5C0857124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463" y="2418346"/>
            <a:ext cx="6154399" cy="613611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3200">
                <a:solidFill>
                  <a:srgbClr val="0046CB"/>
                </a:solidFill>
                <a:latin typeface="Lato" panose="020F050202020403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85C43C3-29BC-D196-F426-149C2E7F24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4463" y="3287139"/>
            <a:ext cx="6154399" cy="92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Lato" panose="020F0502020204030203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CCA89C1-98EA-ADF7-EC57-91820049A816}"/>
              </a:ext>
            </a:extLst>
          </p:cNvPr>
          <p:cNvSpPr txBox="1">
            <a:spLocks/>
          </p:cNvSpPr>
          <p:nvPr userDrawn="1"/>
        </p:nvSpPr>
        <p:spPr>
          <a:xfrm>
            <a:off x="9327727" y="650363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E7FBFD-78E1-42FB-85FC-D9CE5E3DEFA5}" type="slidenum">
              <a:rPr lang="en-US" sz="1000" smtClean="0">
                <a:solidFill>
                  <a:srgbClr val="0047CB"/>
                </a:solidFill>
              </a:rPr>
              <a:pPr algn="r"/>
              <a:t>‹Nº›</a:t>
            </a:fld>
            <a:endParaRPr lang="en-US" sz="1000" dirty="0">
              <a:solidFill>
                <a:srgbClr val="0047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84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17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/ Bottom Scallop_Inno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F7E7430-3C08-37C6-DA1B-C2B7BC54AA66}"/>
              </a:ext>
            </a:extLst>
          </p:cNvPr>
          <p:cNvSpPr/>
          <p:nvPr userDrawn="1"/>
        </p:nvSpPr>
        <p:spPr>
          <a:xfrm>
            <a:off x="0" y="6086190"/>
            <a:ext cx="12192000" cy="782568"/>
          </a:xfrm>
          <a:custGeom>
            <a:avLst/>
            <a:gdLst>
              <a:gd name="connsiteX0" fmla="*/ 0 w 12192000"/>
              <a:gd name="connsiteY0" fmla="*/ 0 h 1077350"/>
              <a:gd name="connsiteX1" fmla="*/ 12192000 w 12192000"/>
              <a:gd name="connsiteY1" fmla="*/ 0 h 1077350"/>
              <a:gd name="connsiteX2" fmla="*/ 12192000 w 12192000"/>
              <a:gd name="connsiteY2" fmla="*/ 1077350 h 1077350"/>
              <a:gd name="connsiteX3" fmla="*/ 0 w 12192000"/>
              <a:gd name="connsiteY3" fmla="*/ 1077350 h 1077350"/>
              <a:gd name="connsiteX4" fmla="*/ 0 w 12192000"/>
              <a:gd name="connsiteY4" fmla="*/ 0 h 1077350"/>
              <a:gd name="connsiteX0" fmla="*/ 0 w 12192000"/>
              <a:gd name="connsiteY0" fmla="*/ 406400 h 1483750"/>
              <a:gd name="connsiteX1" fmla="*/ 12192000 w 12192000"/>
              <a:gd name="connsiteY1" fmla="*/ 406400 h 1483750"/>
              <a:gd name="connsiteX2" fmla="*/ 12192000 w 12192000"/>
              <a:gd name="connsiteY2" fmla="*/ 1483750 h 1483750"/>
              <a:gd name="connsiteX3" fmla="*/ 0 w 12192000"/>
              <a:gd name="connsiteY3" fmla="*/ 1483750 h 1483750"/>
              <a:gd name="connsiteX4" fmla="*/ 0 w 12192000"/>
              <a:gd name="connsiteY4" fmla="*/ 406400 h 1483750"/>
              <a:gd name="connsiteX0" fmla="*/ 0 w 12192000"/>
              <a:gd name="connsiteY0" fmla="*/ 596239 h 1673589"/>
              <a:gd name="connsiteX1" fmla="*/ 12192000 w 12192000"/>
              <a:gd name="connsiteY1" fmla="*/ 596239 h 1673589"/>
              <a:gd name="connsiteX2" fmla="*/ 12192000 w 12192000"/>
              <a:gd name="connsiteY2" fmla="*/ 1673589 h 1673589"/>
              <a:gd name="connsiteX3" fmla="*/ 0 w 12192000"/>
              <a:gd name="connsiteY3" fmla="*/ 1673589 h 1673589"/>
              <a:gd name="connsiteX4" fmla="*/ 0 w 12192000"/>
              <a:gd name="connsiteY4" fmla="*/ 596239 h 1673589"/>
              <a:gd name="connsiteX0" fmla="*/ 0 w 12192000"/>
              <a:gd name="connsiteY0" fmla="*/ 541216 h 1618566"/>
              <a:gd name="connsiteX1" fmla="*/ 12192000 w 12192000"/>
              <a:gd name="connsiteY1" fmla="*/ 541216 h 1618566"/>
              <a:gd name="connsiteX2" fmla="*/ 12192000 w 12192000"/>
              <a:gd name="connsiteY2" fmla="*/ 1618566 h 1618566"/>
              <a:gd name="connsiteX3" fmla="*/ 0 w 12192000"/>
              <a:gd name="connsiteY3" fmla="*/ 1618566 h 1618566"/>
              <a:gd name="connsiteX4" fmla="*/ 0 w 12192000"/>
              <a:gd name="connsiteY4" fmla="*/ 541216 h 1618566"/>
              <a:gd name="connsiteX0" fmla="*/ 0 w 12192000"/>
              <a:gd name="connsiteY0" fmla="*/ 477341 h 1554691"/>
              <a:gd name="connsiteX1" fmla="*/ 12192000 w 12192000"/>
              <a:gd name="connsiteY1" fmla="*/ 477341 h 1554691"/>
              <a:gd name="connsiteX2" fmla="*/ 12192000 w 12192000"/>
              <a:gd name="connsiteY2" fmla="*/ 1554691 h 1554691"/>
              <a:gd name="connsiteX3" fmla="*/ 0 w 12192000"/>
              <a:gd name="connsiteY3" fmla="*/ 1554691 h 1554691"/>
              <a:gd name="connsiteX4" fmla="*/ 0 w 12192000"/>
              <a:gd name="connsiteY4" fmla="*/ 477341 h 1554691"/>
              <a:gd name="connsiteX0" fmla="*/ 0 w 12192000"/>
              <a:gd name="connsiteY0" fmla="*/ 514457 h 1591807"/>
              <a:gd name="connsiteX1" fmla="*/ 12192000 w 12192000"/>
              <a:gd name="connsiteY1" fmla="*/ 514457 h 1591807"/>
              <a:gd name="connsiteX2" fmla="*/ 12192000 w 12192000"/>
              <a:gd name="connsiteY2" fmla="*/ 1591807 h 1591807"/>
              <a:gd name="connsiteX3" fmla="*/ 0 w 12192000"/>
              <a:gd name="connsiteY3" fmla="*/ 1591807 h 1591807"/>
              <a:gd name="connsiteX4" fmla="*/ 0 w 12192000"/>
              <a:gd name="connsiteY4" fmla="*/ 514457 h 1591807"/>
              <a:gd name="connsiteX0" fmla="*/ 0 w 12192000"/>
              <a:gd name="connsiteY0" fmla="*/ 534336 h 1611686"/>
              <a:gd name="connsiteX1" fmla="*/ 12182061 w 12192000"/>
              <a:gd name="connsiteY1" fmla="*/ 494580 h 1611686"/>
              <a:gd name="connsiteX2" fmla="*/ 12192000 w 12192000"/>
              <a:gd name="connsiteY2" fmla="*/ 1611686 h 1611686"/>
              <a:gd name="connsiteX3" fmla="*/ 0 w 12192000"/>
              <a:gd name="connsiteY3" fmla="*/ 1611686 h 1611686"/>
              <a:gd name="connsiteX4" fmla="*/ 0 w 12192000"/>
              <a:gd name="connsiteY4" fmla="*/ 534336 h 1611686"/>
              <a:gd name="connsiteX0" fmla="*/ 0 w 12192000"/>
              <a:gd name="connsiteY0" fmla="*/ 515600 h 1592950"/>
              <a:gd name="connsiteX1" fmla="*/ 12182061 w 12192000"/>
              <a:gd name="connsiteY1" fmla="*/ 475844 h 1592950"/>
              <a:gd name="connsiteX2" fmla="*/ 12192000 w 12192000"/>
              <a:gd name="connsiteY2" fmla="*/ 1592950 h 1592950"/>
              <a:gd name="connsiteX3" fmla="*/ 0 w 12192000"/>
              <a:gd name="connsiteY3" fmla="*/ 1592950 h 1592950"/>
              <a:gd name="connsiteX4" fmla="*/ 0 w 12192000"/>
              <a:gd name="connsiteY4" fmla="*/ 515600 h 159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1592950">
                <a:moveTo>
                  <a:pt x="0" y="515600"/>
                </a:moveTo>
                <a:cubicBezTo>
                  <a:pt x="4133574" y="-190078"/>
                  <a:pt x="8495749" y="-140382"/>
                  <a:pt x="12182061" y="475844"/>
                </a:cubicBezTo>
                <a:lnTo>
                  <a:pt x="12192000" y="1592950"/>
                </a:lnTo>
                <a:lnTo>
                  <a:pt x="0" y="1592950"/>
                </a:lnTo>
                <a:lnTo>
                  <a:pt x="0" y="515600"/>
                </a:lnTo>
                <a:close/>
              </a:path>
            </a:pathLst>
          </a:custGeom>
          <a:solidFill>
            <a:srgbClr val="0046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baseline="-25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04E51B-CA0F-4647-B1F0-755721D6E7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4464" y="6421323"/>
            <a:ext cx="2420563" cy="31309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F4D26550-2CF4-DFCD-9D34-13AF1E671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464" y="458711"/>
            <a:ext cx="10971947" cy="92643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200">
                <a:solidFill>
                  <a:srgbClr val="0046CB"/>
                </a:solidFill>
                <a:latin typeface="Lato" panose="020F050202020403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59B987B-15AE-E656-D1C2-474B978A2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464" y="1609423"/>
            <a:ext cx="10980820" cy="346928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4213" indent="-2270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2000E28-F484-7D02-44D2-D5771EA8235F}"/>
              </a:ext>
            </a:extLst>
          </p:cNvPr>
          <p:cNvSpPr txBox="1">
            <a:spLocks/>
          </p:cNvSpPr>
          <p:nvPr userDrawn="1"/>
        </p:nvSpPr>
        <p:spPr>
          <a:xfrm>
            <a:off x="9327727" y="650363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E7FBFD-78E1-42FB-85FC-D9CE5E3DEFA5}" type="slidenum">
              <a:rPr lang="en-US" sz="1000" smtClean="0">
                <a:solidFill>
                  <a:schemeClr val="bg1"/>
                </a:solidFill>
              </a:rPr>
              <a:pPr algn="r"/>
              <a:t>‹Nº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82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5767C73A-81CF-E51D-431C-34B508BBD9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39D796-6C26-E144-8EBA-29D09530D8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30012E-501E-452F-784B-725FE5645F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8DCB27-160A-70C2-9071-8FE0B87EB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593957-5DE8-4386-3457-0F33864A1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CE7CAE-08E3-171A-99F8-45DC6A87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6" descr="A logo with colorful people&#10;&#10;Description automatically generated">
            <a:extLst>
              <a:ext uri="{FF2B5EF4-FFF2-40B4-BE49-F238E27FC236}">
                <a16:creationId xmlns:a16="http://schemas.microsoft.com/office/drawing/2014/main" id="{4092E859-963F-D1D7-0113-3FCB656968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21126"/>
          <a:stretch/>
        </p:blipFill>
        <p:spPr>
          <a:xfrm>
            <a:off x="143175" y="5257800"/>
            <a:ext cx="1850471" cy="1463675"/>
          </a:xfrm>
          <a:prstGeom prst="rect">
            <a:avLst/>
          </a:prstGeom>
        </p:spPr>
      </p:pic>
      <p:pic>
        <p:nvPicPr>
          <p:cNvPr id="10" name="Imagem 11">
            <a:extLst>
              <a:ext uri="{FF2B5EF4-FFF2-40B4-BE49-F238E27FC236}">
                <a16:creationId xmlns:a16="http://schemas.microsoft.com/office/drawing/2014/main" id="{95AD0170-CCF2-7F4C-EBDC-3AFBA58BD44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34254" y="136525"/>
            <a:ext cx="3139943" cy="6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151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9DB45-13B0-B7A7-DAF5-F0ED2F905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756054-FCED-E086-1367-8D8A48723C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FED0C-3092-534A-92D6-45F993D949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CDAAAF-8A98-DC63-B416-2E1C4B234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66F47F-F844-A474-5ED4-E8BA1FB72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6" descr="A logo with colorful people&#10;&#10;Description automatically generated">
            <a:extLst>
              <a:ext uri="{FF2B5EF4-FFF2-40B4-BE49-F238E27FC236}">
                <a16:creationId xmlns:a16="http://schemas.microsoft.com/office/drawing/2014/main" id="{09CC2D89-5437-157F-3D1D-5B14D9B85D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7631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26906-49DB-F265-2514-DAD40941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12AC0-0288-A53F-E04A-E86F380809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F1C2A4-1E04-9879-887B-1E75549D1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0D2CD-10BD-C332-3DAB-B4DA2737D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D25F66-7557-4EB3-8A6E-F15DA59F2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3171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370DF8-9DFC-5E47-0BD8-3616B41E5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6DA2E-EE2D-31AC-B332-06A9186297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1FFC04-78F9-447D-FB92-CB09FB1C7C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38C49-236B-CB01-FDE1-6441594DA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A55CD6-0A61-43DF-CE84-61B63F465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B6D828-62AF-94DA-DC8E-36D44057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8" name="Picture 7" descr="A logo with colorful people&#10;&#10;Description automatically generated">
            <a:extLst>
              <a:ext uri="{FF2B5EF4-FFF2-40B4-BE49-F238E27FC236}">
                <a16:creationId xmlns:a16="http://schemas.microsoft.com/office/drawing/2014/main" id="{389EF842-1F1F-DA31-7D60-190A03B308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2706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AC8E3-6BEF-4323-4ED3-338674D07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8A8D1E-7D7B-09C0-46D6-12BF4DF45A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17612A-D969-F311-AF1C-F1D33818FE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C8D2B-F3DA-934D-B089-B9288D18C0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65F643-19EF-5B64-8482-4170825171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A1F487-6E11-2C6E-978E-F5519FD01C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FCE918-0E9F-408C-1874-891E2A8C3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17159-42A5-90DC-4B68-7A55461C3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10" name="Picture 9" descr="A logo with colorful people&#10;&#10;Description automatically generated">
            <a:extLst>
              <a:ext uri="{FF2B5EF4-FFF2-40B4-BE49-F238E27FC236}">
                <a16:creationId xmlns:a16="http://schemas.microsoft.com/office/drawing/2014/main" id="{57765916-A138-369C-0377-DB11577614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592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D7230-2F63-FC31-2849-8992775E1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D66971-4260-F579-4EAF-F956BFAC40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4D8678-11E1-BE2A-A994-D1B37F8EB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ED2680-3C4A-86F1-BA97-9AAC86E0C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9E3A89-1D40-B2C2-682E-E4D245A6F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5798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B2B73-6CE1-406A-C110-DE9545269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E62E03-6154-20FC-DEC5-707E146F2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E71F1B-ECC2-7459-BD9D-23F4D5B06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EC40F-769B-0494-1860-2B7C8C7B4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6" name="Picture 5" descr="A logo with colorful people&#10;&#10;Description automatically generated">
            <a:extLst>
              <a:ext uri="{FF2B5EF4-FFF2-40B4-BE49-F238E27FC236}">
                <a16:creationId xmlns:a16="http://schemas.microsoft.com/office/drawing/2014/main" id="{DE22BDA3-1A1F-10E6-D521-376D11034E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8893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14F469-90F7-BF6B-4884-A10655EF9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7F7B58-AB90-F49C-072C-91ACD4AB9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D5F956-9812-1567-E1DF-F4D811F36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5" name="Picture 4" descr="A logo with colorful people&#10;&#10;Description automatically generated">
            <a:extLst>
              <a:ext uri="{FF2B5EF4-FFF2-40B4-BE49-F238E27FC236}">
                <a16:creationId xmlns:a16="http://schemas.microsoft.com/office/drawing/2014/main" id="{9D1FD32D-6601-2595-4C6F-588FAD6B95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2984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1DC44-84F8-C912-8B70-A3189A03D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2BFA-ABFA-7E72-E43A-45995B425D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6F829A-73EE-0E91-EC19-11D15F53DC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278B1E-0B87-B161-D376-7D79F1ED7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FFDB37-C304-135F-28AF-92A285D5B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FA50D-DBBA-CD22-2791-D54C408B3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8" name="Picture 7" descr="A logo with colorful people&#10;&#10;Description automatically generated">
            <a:extLst>
              <a:ext uri="{FF2B5EF4-FFF2-40B4-BE49-F238E27FC236}">
                <a16:creationId xmlns:a16="http://schemas.microsoft.com/office/drawing/2014/main" id="{237EF551-CFDD-F8D2-1BE1-0ACB5B18D8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776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EDD4D-7C22-929C-0712-CD7D697E0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95AA747-DF4D-9AF9-7872-C7A76CE936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FD0586-88CE-3874-12AB-DE8ADC773C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C437A5-49F7-34B2-86A5-3539ED132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867ED8-83C0-6A7B-1FB4-609A79C41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71EB27-07F1-AB71-649E-44FF12057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8" name="Picture 7" descr="A logo with colorful people&#10;&#10;Description automatically generated">
            <a:extLst>
              <a:ext uri="{FF2B5EF4-FFF2-40B4-BE49-F238E27FC236}">
                <a16:creationId xmlns:a16="http://schemas.microsoft.com/office/drawing/2014/main" id="{8C5DA46C-A1CD-1401-E399-97AD0C4478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7326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DBEE9-EFA8-3AD1-78D9-230390EFC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021311-75FC-168F-1A79-A1C657C121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740C7-55B8-B8F1-F179-3DE207CB8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61D5A-A979-B141-1345-E1F640F63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7917D-C72F-BDCA-4F81-E2FF347F8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6" descr="A logo with colorful people&#10;&#10;Description automatically generated">
            <a:extLst>
              <a:ext uri="{FF2B5EF4-FFF2-40B4-BE49-F238E27FC236}">
                <a16:creationId xmlns:a16="http://schemas.microsoft.com/office/drawing/2014/main" id="{00DF1AB4-290F-A44B-CBAA-41219285F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112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gradFill>
          <a:gsLst>
            <a:gs pos="0">
              <a:schemeClr val="accent5">
                <a:lumMod val="0"/>
                <a:lumOff val="100000"/>
              </a:schemeClr>
            </a:gs>
            <a:gs pos="84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83440D-7C73-AEE6-05EF-701FF4C585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8B0AC7-C444-0678-90B8-389A4249EA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719D5-E882-4EEC-17B3-BDA75E3FE9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E8008-8D60-ED75-A548-2AA12EF51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A6587-B47D-1EA3-1752-27C1E56C1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6" descr="A logo with colorful people&#10;&#10;Description automatically generated">
            <a:extLst>
              <a:ext uri="{FF2B5EF4-FFF2-40B4-BE49-F238E27FC236}">
                <a16:creationId xmlns:a16="http://schemas.microsoft.com/office/drawing/2014/main" id="{E4FBCE45-8F63-D1F1-525C-82E28B8BD2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5142584" y="2957570"/>
            <a:ext cx="1747744" cy="175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84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40BC9-5D2D-10C6-E063-18DA9FA70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44691-A912-0EBD-6F3D-22D9C4A718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2C1C33-6133-EB09-9605-F63D7A16F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F7188C-E5FA-58E6-CEBC-E1EB6F717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D6363-4D64-7ABD-5064-E2DBE4C59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941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F8F2-7E64-C15E-21F1-CB36186C2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39C6E9-76E4-E8FA-FC18-408EECD80D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6E7E73-32F1-6909-FC06-6589654487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3E4461-D6F7-5FD4-11B5-C9038DD98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7202B3-E7EF-CADF-7F43-C341508D5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9FF860-68E5-0DD0-B21A-EBEFEBCCF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9555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21F81-4D50-DBF6-BC7E-A31D9D86F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F0377-B707-8D15-C5D8-8EB01FA834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8C2EFD-4709-72CD-C85A-53251E6DCF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EB8A08-35BD-7309-F804-425AA7B272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956297-5DFB-54B7-68ED-BCD8FA01C9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6B8582-B99A-FA93-49DB-88F45EA3E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3DF972-6E26-2A05-4B12-DF4E9EDD76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A2D0F6-880A-5539-52F3-010121D7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4689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39534-290C-D498-8ACB-B60CCEB4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8AE27F-7057-51D3-48EC-E2BAD933A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801A6E-57AC-0D2F-7466-FE0C83442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A5ADAC-F0C5-4412-3229-6ADC9C7AE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813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D5F6D-94FF-2128-9DE6-D1FA9F9DD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EBBDB5-B0D5-1ED2-2CC4-FB2232450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70DB0-A716-E3A4-FA04-32A335EFF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384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05867-D3D4-CAF1-3D5A-C79C8F1F3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16EC63-5919-AC4C-BFD6-4FEBC1E02A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A17F71-D475-D4B9-7FB1-619C3C3A5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4AEFE8-6FE9-64C3-F0C3-89A800FD9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1DBF82-D70E-20E7-E9F4-F157F1445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8E7525-3A9D-15FD-06B7-C62B68F2B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1342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3C44B-AADD-5A89-37F3-801402707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F5C9D7A-EA73-3A40-F3A6-73CA482464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02BE5F-D2B4-7019-24BF-C26DC08C4A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A13B12-F276-C450-0FDB-4026CDACB5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9ECB3E-D1FD-3FAB-9EEB-3A79A18B2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F04E5-7AC3-AE71-D640-4D9FDBEB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851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1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A2703B3-DEB9-F8F2-8FAF-B388DED95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E3EEF0-5515-9405-FD4E-F37E0BCB21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321CC5-0F5D-C738-C3C8-EDB7C56B4D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F56336-8C1A-43AA-B252-3BFC03D96F23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31467A-B012-C8A2-FFBC-0B5D905F9F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CF80B-1713-46CF-7070-EA80D4E567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BA884D-834A-4E4E-98CF-CEC393D2FC1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454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712A94-6F57-CC37-93CB-FA83731D6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82393-0C7B-4A24-90CD-6998A77AC2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90367F-648D-E23E-1C15-53461CB753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FC776A-222B-4289-9198-454BE6B182C6}" type="datetimeFigureOut">
              <a:rPr lang="en-US" smtClean="0"/>
              <a:t>4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1EEABD-3676-5E4B-254E-E1BE231AD0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93B66C-CC1A-F4A8-5788-F58DDDEF4B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820AF9-7B97-42AD-8201-8C538B47B129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73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diagramColors" Target="../diagrams/colors1.xml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12" Type="http://schemas.openxmlformats.org/officeDocument/2006/relationships/diagramQuickStyle" Target="../diagrams/quickStyle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11" Type="http://schemas.openxmlformats.org/officeDocument/2006/relationships/diagramLayout" Target="../diagrams/layout1.xml"/><Relationship Id="rId5" Type="http://schemas.openxmlformats.org/officeDocument/2006/relationships/image" Target="../media/image12.svg"/><Relationship Id="rId10" Type="http://schemas.openxmlformats.org/officeDocument/2006/relationships/diagramData" Target="../diagrams/data1.xml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feedback-ball-about-796141/" TargetMode="External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pxhere.com/es/photo/1326907" TargetMode="External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hyperlink" Target="https://pixabay.com/en/feedback-ball-about-796141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tags" Target="../tags/tag4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31.svg"/><Relationship Id="rId4" Type="http://schemas.openxmlformats.org/officeDocument/2006/relationships/tags" Target="../tags/tag5.xml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D9202-61EB-3CDC-555C-A59BBA992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722" y="2222829"/>
            <a:ext cx="7861851" cy="1644445"/>
          </a:xfrm>
        </p:spPr>
        <p:txBody>
          <a:bodyPr>
            <a:normAutofit/>
          </a:bodyPr>
          <a:lstStyle/>
          <a:p>
            <a:r>
              <a:rPr lang="es-CR" sz="5400" b="1" dirty="0">
                <a:solidFill>
                  <a:schemeClr val="tx1"/>
                </a:solidFill>
              </a:rPr>
              <a:t>Feedback… </a:t>
            </a:r>
            <a:r>
              <a:rPr lang="es-CR" sz="3100" b="1" dirty="0">
                <a:solidFill>
                  <a:schemeClr val="tx1"/>
                </a:solidFill>
              </a:rPr>
              <a:t>A la Connie Clark</a:t>
            </a:r>
            <a:endParaRPr lang="en-US" sz="3100" b="1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A160A4-630C-B823-4E6D-2DB037C59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8722" y="4434953"/>
            <a:ext cx="4298005" cy="331788"/>
          </a:xfrm>
        </p:spPr>
        <p:txBody>
          <a:bodyPr>
            <a:normAutofit fontScale="92500" lnSpcReduction="10000"/>
          </a:bodyPr>
          <a:lstStyle/>
          <a:p>
            <a:r>
              <a:rPr lang="es-CR" dirty="0">
                <a:solidFill>
                  <a:schemeClr val="accent1"/>
                </a:solidFill>
              </a:rPr>
              <a:t>April-2024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EC6EB13-F00B-8361-2213-D6038679AA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42" y="4766741"/>
            <a:ext cx="2414280" cy="186213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154D270-CC87-B0E4-EAF1-730286157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42" y="229124"/>
            <a:ext cx="2928312" cy="70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4205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266" y="39506"/>
            <a:ext cx="10971947" cy="926432"/>
          </a:xfrm>
        </p:spPr>
        <p:txBody>
          <a:bodyPr/>
          <a:lstStyle/>
          <a:p>
            <a:r>
              <a:rPr lang="es-CR" b="1" dirty="0"/>
              <a:t>Modelo CIE</a:t>
            </a:r>
            <a:endParaRPr lang="en-US" b="1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9C0A0E4-48E6-47E3-7070-8B616876DEB6}"/>
              </a:ext>
            </a:extLst>
          </p:cNvPr>
          <p:cNvSpPr txBox="1">
            <a:spLocks noGrp="1"/>
          </p:cNvSpPr>
          <p:nvPr/>
        </p:nvSpPr>
        <p:spPr bwMode="auto">
          <a:xfrm>
            <a:off x="912577" y="5658195"/>
            <a:ext cx="195263" cy="150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895350" eaLnBrk="0" hangingPunct="0">
              <a:lnSpc>
                <a:spcPct val="90000"/>
              </a:lnSpc>
            </a:pPr>
            <a:fld id="{E9D05874-8362-4DA7-B3D0-11249B4E8396}" type="slidenum">
              <a:rPr lang="es-ES" sz="1100">
                <a:solidFill>
                  <a:srgbClr val="FFFFFF"/>
                </a:solidFill>
              </a:rPr>
              <a:pPr algn="ctr" defTabSz="895350" eaLnBrk="0" hangingPunct="0">
                <a:lnSpc>
                  <a:spcPct val="90000"/>
                </a:lnSpc>
              </a:pPr>
              <a:t>10</a:t>
            </a:fld>
            <a:r>
              <a:rPr lang="es-ES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804B0922-3BF5-277D-0A2C-F6AB9FA07459}"/>
              </a:ext>
            </a:extLst>
          </p:cNvPr>
          <p:cNvSpPr/>
          <p:nvPr/>
        </p:nvSpPr>
        <p:spPr>
          <a:xfrm>
            <a:off x="1353047" y="894097"/>
            <a:ext cx="9485906" cy="506980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C2217FA7-09BB-F60A-D92D-3A4970C1B2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8" t="33594" r="40509" b="13483"/>
          <a:stretch/>
        </p:blipFill>
        <p:spPr bwMode="auto">
          <a:xfrm>
            <a:off x="2535641" y="3940432"/>
            <a:ext cx="2326747" cy="1984133"/>
          </a:xfrm>
          <a:prstGeom prst="rect">
            <a:avLst/>
          </a:prstGeom>
          <a:solidFill>
            <a:schemeClr val="bg1">
              <a:alpha val="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80CD4412-EB7D-982C-8D5A-494636DEDE5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17505" y="4176993"/>
            <a:ext cx="1298223" cy="1354666"/>
          </a:xfrm>
          <a:prstGeom prst="rect">
            <a:avLst/>
          </a:prstGeom>
          <a:solidFill>
            <a:schemeClr val="bg1">
              <a:alpha val="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▪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–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9000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4685" eaLnBrk="1" hangingPunct="1">
              <a:buFontTx/>
              <a:buNone/>
              <a:defRPr/>
            </a:pPr>
            <a:endParaRPr lang="es-CO" sz="1400" kern="0" dirty="0">
              <a:latin typeface="Constantia" panose="02030602050306030303" pitchFamily="18" charset="0"/>
            </a:endParaRP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100" b="1" u="sng" kern="0" dirty="0">
                <a:solidFill>
                  <a:schemeClr val="tx2"/>
                </a:solidFill>
                <a:latin typeface="Bookman Old Style" panose="02050604050505020204" pitchFamily="18" charset="0"/>
              </a:rPr>
              <a:t>En mi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100" kern="0" dirty="0">
                <a:latin typeface="Bookman Old Style" panose="02050604050505020204" pitchFamily="18" charset="0"/>
              </a:rPr>
              <a:t>Emociones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100" kern="0" dirty="0">
                <a:latin typeface="Bookman Old Style" panose="02050604050505020204" pitchFamily="18" charset="0"/>
              </a:rPr>
              <a:t>Pensamientos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100" kern="0" dirty="0">
                <a:latin typeface="Bookman Old Style" panose="02050604050505020204" pitchFamily="18" charset="0"/>
              </a:rPr>
              <a:t>Accionar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100" b="1" u="sng" kern="0" dirty="0">
                <a:solidFill>
                  <a:schemeClr val="tx2"/>
                </a:solidFill>
                <a:latin typeface="Bookman Old Style" panose="02050604050505020204" pitchFamily="18" charset="0"/>
              </a:rPr>
              <a:t>En el entorno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100" kern="0" dirty="0">
                <a:latin typeface="Bookman Old Style" panose="02050604050505020204" pitchFamily="18" charset="0"/>
              </a:rPr>
              <a:t>Entorno</a:t>
            </a:r>
          </a:p>
          <a:p>
            <a:pPr marL="0" indent="0" algn="ctr" defTabSz="894685" eaLnBrk="1" hangingPunct="1">
              <a:buFontTx/>
              <a:buNone/>
              <a:defRPr/>
            </a:pPr>
            <a:endParaRPr lang="es-CO" sz="1100" kern="0" dirty="0">
              <a:latin typeface="Constantia" panose="02030602050306030303" pitchFamily="18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C8FE6AD-C641-04C8-8BDE-3B54CCED4A3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350367" y="4199570"/>
            <a:ext cx="2319852" cy="1476553"/>
          </a:xfrm>
          <a:prstGeom prst="rect">
            <a:avLst/>
          </a:prstGeom>
          <a:solidFill>
            <a:srgbClr val="91AFFF">
              <a:alpha val="0"/>
            </a:srgbClr>
          </a:solidFill>
          <a:ln w="3175" cap="flat" cmpd="sng" algn="ctr">
            <a:solidFill>
              <a:schemeClr val="tx1"/>
            </a:solidFill>
            <a:prstDash val="solid"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indent="0" algn="ctr" defTabSz="894685" eaLnBrk="1" hangingPunct="1">
              <a:buClr>
                <a:schemeClr val="folHlink"/>
              </a:buClr>
              <a:buFontTx/>
              <a:buNone/>
              <a:defRPr kern="0">
                <a:latin typeface="Constantia" panose="02030602050306030303" pitchFamily="18" charset="0"/>
              </a:defRPr>
            </a:lvl1pPr>
            <a:lvl2pPr marL="193675" indent="-192088" defTabSz="895350" eaLnBrk="0" hangingPunct="0">
              <a:buClr>
                <a:schemeClr val="folHlink"/>
              </a:buClr>
              <a:buFont typeface="Arial" charset="0"/>
              <a:buChar char="▪"/>
              <a:defRPr sz="1600"/>
            </a:lvl2pPr>
            <a:lvl3pPr marL="457200" indent="-261938" defTabSz="895350" eaLnBrk="0" hangingPunct="0">
              <a:buClr>
                <a:schemeClr val="folHlink"/>
              </a:buClr>
              <a:buFont typeface="Arial" charset="0"/>
              <a:buChar char="–"/>
              <a:defRPr sz="1600"/>
            </a:lvl3pPr>
            <a:lvl4pPr marL="614363" indent="-155575" defTabSz="895350" eaLnBrk="0" hangingPunct="0">
              <a:buClr>
                <a:schemeClr val="folHlink"/>
              </a:buClr>
              <a:buSzPct val="90000"/>
              <a:buChar char="•"/>
              <a:defRPr sz="1600"/>
            </a:lvl4pPr>
            <a:lvl5pPr marL="746125" indent="-130175" defTabSz="895350" eaLnBrk="0" hangingPunct="0">
              <a:buClr>
                <a:schemeClr val="folHlink"/>
              </a:buClr>
              <a:buFont typeface="Arial" charset="0"/>
              <a:buChar char="-"/>
              <a:defRPr sz="1600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/>
            </a:lvl9pPr>
          </a:lstStyle>
          <a:p>
            <a:endParaRPr lang="es-CO" dirty="0"/>
          </a:p>
          <a:p>
            <a:r>
              <a:rPr lang="es-CO" sz="1200" dirty="0"/>
              <a:t>Hablar lo que quiero que pase</a:t>
            </a:r>
          </a:p>
          <a:p>
            <a:r>
              <a:rPr lang="es-CO" sz="1200" dirty="0"/>
              <a:t>Dejar en la mente de la persona imágenes claras de lo que espero que haga “Me gustaría verte..”</a:t>
            </a:r>
          </a:p>
          <a:p>
            <a:endParaRPr lang="es-CO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B4526E27-BFDF-1F41-1929-EF68FE26EF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2507" y="967261"/>
            <a:ext cx="5188217" cy="27306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044537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73" y="-86811"/>
            <a:ext cx="10971947" cy="926432"/>
          </a:xfrm>
        </p:spPr>
        <p:txBody>
          <a:bodyPr/>
          <a:lstStyle/>
          <a:p>
            <a:r>
              <a:rPr lang="es-ES" b="1" dirty="0"/>
              <a:t>Modelo 4 pasos para brindar y recibir Feedback Eficaz</a:t>
            </a:r>
          </a:p>
        </p:txBody>
      </p:sp>
      <p:sp>
        <p:nvSpPr>
          <p:cNvPr id="85" name="Rectángulo: esquinas redondeadas 84">
            <a:extLst>
              <a:ext uri="{FF2B5EF4-FFF2-40B4-BE49-F238E27FC236}">
                <a16:creationId xmlns:a16="http://schemas.microsoft.com/office/drawing/2014/main" id="{2C13E5F3-760C-5E88-40AA-9D52B0F2CE1A}"/>
              </a:ext>
            </a:extLst>
          </p:cNvPr>
          <p:cNvSpPr/>
          <p:nvPr/>
        </p:nvSpPr>
        <p:spPr>
          <a:xfrm>
            <a:off x="1047094" y="681825"/>
            <a:ext cx="10380081" cy="531147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86" name="AutoShape 3">
            <a:extLst>
              <a:ext uri="{FF2B5EF4-FFF2-40B4-BE49-F238E27FC236}">
                <a16:creationId xmlns:a16="http://schemas.microsoft.com/office/drawing/2014/main" id="{B577853F-8F51-56B7-321C-C36CD131DB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88720" y="4455858"/>
            <a:ext cx="1298575" cy="658813"/>
          </a:xfrm>
          <a:prstGeom prst="homePlate">
            <a:avLst>
              <a:gd name="adj" fmla="val 19994"/>
            </a:avLst>
          </a:prstGeom>
          <a:solidFill>
            <a:srgbClr val="A2A9B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1420" tIns="45710" rIns="91420" bIns="4571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Dar feedback</a:t>
            </a:r>
          </a:p>
        </p:txBody>
      </p:sp>
      <p:sp>
        <p:nvSpPr>
          <p:cNvPr id="87" name="AutoShape 4">
            <a:extLst>
              <a:ext uri="{FF2B5EF4-FFF2-40B4-BE49-F238E27FC236}">
                <a16:creationId xmlns:a16="http://schemas.microsoft.com/office/drawing/2014/main" id="{A21AC673-1121-5914-6273-0778F32DF4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0308" y="5213096"/>
            <a:ext cx="1295400" cy="658812"/>
          </a:xfrm>
          <a:prstGeom prst="homePlate">
            <a:avLst>
              <a:gd name="adj" fmla="val 19945"/>
            </a:avLst>
          </a:prstGeom>
          <a:solidFill>
            <a:srgbClr val="E4EBF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1420" tIns="45710" rIns="91420" bIns="4571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Recibir feedback</a:t>
            </a:r>
          </a:p>
        </p:txBody>
      </p:sp>
      <p:sp>
        <p:nvSpPr>
          <p:cNvPr id="88" name="Freeform 5">
            <a:extLst>
              <a:ext uri="{FF2B5EF4-FFF2-40B4-BE49-F238E27FC236}">
                <a16:creationId xmlns:a16="http://schemas.microsoft.com/office/drawing/2014/main" id="{7E3132D9-F918-7425-F03A-405AFE4CA9AF}"/>
              </a:ext>
            </a:extLst>
          </p:cNvPr>
          <p:cNvSpPr>
            <a:spLocks/>
          </p:cNvSpPr>
          <p:nvPr/>
        </p:nvSpPr>
        <p:spPr bwMode="gray">
          <a:xfrm>
            <a:off x="7417995" y="2985833"/>
            <a:ext cx="608013" cy="688975"/>
          </a:xfrm>
          <a:custGeom>
            <a:avLst/>
            <a:gdLst>
              <a:gd name="T0" fmla="*/ 606615 w 435"/>
              <a:gd name="T1" fmla="*/ 685872 h 222"/>
              <a:gd name="T2" fmla="*/ 606615 w 435"/>
              <a:gd name="T3" fmla="*/ 0 h 222"/>
              <a:gd name="T4" fmla="*/ 0 w 435"/>
              <a:gd name="T5" fmla="*/ 251383 h 222"/>
              <a:gd name="T6" fmla="*/ 0 w 435"/>
              <a:gd name="T7" fmla="*/ 685872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solidFill>
            <a:srgbClr val="A2A9B1"/>
          </a:solidFill>
          <a:ln w="9525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B25357CE-97B1-39C2-C07A-BD65C74F896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45045" y="2174621"/>
            <a:ext cx="315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4.</a:t>
            </a:r>
          </a:p>
        </p:txBody>
      </p:sp>
      <p:sp>
        <p:nvSpPr>
          <p:cNvPr id="90" name="Rectangle 7">
            <a:extLst>
              <a:ext uri="{FF2B5EF4-FFF2-40B4-BE49-F238E27FC236}">
                <a16:creationId xmlns:a16="http://schemas.microsoft.com/office/drawing/2014/main" id="{A3A8FE80-E26B-BBED-9787-C91A8CC4D6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59357" y="2174621"/>
            <a:ext cx="1755952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Dé una sugerencia concreta, reconocimiento o incentivo.</a:t>
            </a:r>
          </a:p>
        </p:txBody>
      </p:sp>
      <p:sp>
        <p:nvSpPr>
          <p:cNvPr id="91" name="Rectangle 8">
            <a:extLst>
              <a:ext uri="{FF2B5EF4-FFF2-40B4-BE49-F238E27FC236}">
                <a16:creationId xmlns:a16="http://schemas.microsoft.com/office/drawing/2014/main" id="{6BBE332D-9AC4-141B-F266-1EE49B54CC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45045" y="1317371"/>
            <a:ext cx="1477963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i="1" dirty="0">
                <a:solidFill>
                  <a:srgbClr val="000000"/>
                </a:solidFill>
                <a:latin typeface="Arial" charset="0"/>
                <a:cs typeface="Arial" charset="0"/>
              </a:rPr>
              <a:t>“Sugiero que fijemos los objetivos con anticipación, antes de realizar el análisis…”</a:t>
            </a:r>
          </a:p>
        </p:txBody>
      </p:sp>
      <p:sp>
        <p:nvSpPr>
          <p:cNvPr id="92" name="Line 9">
            <a:extLst>
              <a:ext uri="{FF2B5EF4-FFF2-40B4-BE49-F238E27FC236}">
                <a16:creationId xmlns:a16="http://schemas.microsoft.com/office/drawing/2014/main" id="{C76A0214-C29E-E583-440A-76C1D7017E99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7357670" y="1606296"/>
            <a:ext cx="406400" cy="207962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93" name="Line 10">
            <a:extLst>
              <a:ext uri="{FF2B5EF4-FFF2-40B4-BE49-F238E27FC236}">
                <a16:creationId xmlns:a16="http://schemas.microsoft.com/office/drawing/2014/main" id="{130AA2AD-1217-6AF6-C3C0-4FE3AD3CE70A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8027595" y="2968371"/>
            <a:ext cx="0" cy="696912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94" name="Line 11">
            <a:extLst>
              <a:ext uri="{FF2B5EF4-FFF2-40B4-BE49-F238E27FC236}">
                <a16:creationId xmlns:a16="http://schemas.microsoft.com/office/drawing/2014/main" id="{2E718F3B-07C1-74A6-C492-8B2E509E11CF}"/>
              </a:ext>
            </a:extLst>
          </p:cNvPr>
          <p:cNvSpPr>
            <a:spLocks noChangeShapeType="1"/>
          </p:cNvSpPr>
          <p:nvPr/>
        </p:nvSpPr>
        <p:spPr bwMode="gray">
          <a:xfrm>
            <a:off x="8043470" y="2968371"/>
            <a:ext cx="1533525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95" name="Freeform 12">
            <a:extLst>
              <a:ext uri="{FF2B5EF4-FFF2-40B4-BE49-F238E27FC236}">
                <a16:creationId xmlns:a16="http://schemas.microsoft.com/office/drawing/2014/main" id="{00C7D977-4E80-D3D8-1FFC-AAD19C42E26F}"/>
              </a:ext>
            </a:extLst>
          </p:cNvPr>
          <p:cNvSpPr>
            <a:spLocks/>
          </p:cNvSpPr>
          <p:nvPr/>
        </p:nvSpPr>
        <p:spPr bwMode="gray">
          <a:xfrm>
            <a:off x="5919395" y="3690683"/>
            <a:ext cx="608013" cy="727075"/>
          </a:xfrm>
          <a:custGeom>
            <a:avLst/>
            <a:gdLst>
              <a:gd name="T0" fmla="*/ 606615 w 435"/>
              <a:gd name="T1" fmla="*/ 723800 h 222"/>
              <a:gd name="T2" fmla="*/ 606615 w 435"/>
              <a:gd name="T3" fmla="*/ 0 h 222"/>
              <a:gd name="T4" fmla="*/ 0 w 435"/>
              <a:gd name="T5" fmla="*/ 265284 h 222"/>
              <a:gd name="T6" fmla="*/ 0 w 435"/>
              <a:gd name="T7" fmla="*/ 723800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solidFill>
            <a:srgbClr val="A2A9B1"/>
          </a:solidFill>
          <a:ln w="9525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96" name="Rectangle 13">
            <a:extLst>
              <a:ext uri="{FF2B5EF4-FFF2-40B4-BE49-F238E27FC236}">
                <a16:creationId xmlns:a16="http://schemas.microsoft.com/office/drawing/2014/main" id="{C9793EFD-4F86-1A4E-7162-795625C98A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5308" y="2750883"/>
            <a:ext cx="315912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3.</a:t>
            </a:r>
          </a:p>
        </p:txBody>
      </p:sp>
      <p:sp>
        <p:nvSpPr>
          <p:cNvPr id="97" name="Rectangle 14">
            <a:extLst>
              <a:ext uri="{FF2B5EF4-FFF2-40B4-BE49-F238E27FC236}">
                <a16:creationId xmlns:a16="http://schemas.microsoft.com/office/drawing/2014/main" id="{0022339D-9523-761D-00C8-DA283434F76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7395" y="2750883"/>
            <a:ext cx="1049338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Haga una pausa y esté atento a </a:t>
            </a:r>
            <a:b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preguntas </a:t>
            </a:r>
            <a:b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aclaratorias.</a:t>
            </a:r>
          </a:p>
        </p:txBody>
      </p:sp>
      <p:sp>
        <p:nvSpPr>
          <p:cNvPr id="98" name="Rectangle 15">
            <a:extLst>
              <a:ext uri="{FF2B5EF4-FFF2-40B4-BE49-F238E27FC236}">
                <a16:creationId xmlns:a16="http://schemas.microsoft.com/office/drawing/2014/main" id="{4378BC3A-BD59-3C1C-130F-02C60B2B00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0883" y="1969833"/>
            <a:ext cx="1179512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i="1" dirty="0">
                <a:solidFill>
                  <a:srgbClr val="000000"/>
                </a:solidFill>
                <a:latin typeface="Arial" charset="0"/>
                <a:cs typeface="Arial" charset="0"/>
              </a:rPr>
              <a:t>“¿Qué piensa?”</a:t>
            </a:r>
          </a:p>
        </p:txBody>
      </p:sp>
      <p:sp>
        <p:nvSpPr>
          <p:cNvPr id="99" name="Line 16">
            <a:extLst>
              <a:ext uri="{FF2B5EF4-FFF2-40B4-BE49-F238E27FC236}">
                <a16:creationId xmlns:a16="http://schemas.microsoft.com/office/drawing/2014/main" id="{18CF4F0A-65C9-2F67-3292-A7DCE8AA2FA6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6028933" y="2373058"/>
            <a:ext cx="406400" cy="20796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0" name="Line 17">
            <a:extLst>
              <a:ext uri="{FF2B5EF4-FFF2-40B4-BE49-F238E27FC236}">
                <a16:creationId xmlns:a16="http://schemas.microsoft.com/office/drawing/2014/main" id="{2B1661A8-70AC-EB6F-DC71-9112916DFA9C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6517883" y="3690683"/>
            <a:ext cx="0" cy="725488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1" name="Line 18">
            <a:extLst>
              <a:ext uri="{FF2B5EF4-FFF2-40B4-BE49-F238E27FC236}">
                <a16:creationId xmlns:a16="http://schemas.microsoft.com/office/drawing/2014/main" id="{581EA4B7-BC02-949A-0AFC-B5C2AB127588}"/>
              </a:ext>
            </a:extLst>
          </p:cNvPr>
          <p:cNvSpPr>
            <a:spLocks noChangeShapeType="1"/>
          </p:cNvSpPr>
          <p:nvPr/>
        </p:nvSpPr>
        <p:spPr bwMode="gray">
          <a:xfrm>
            <a:off x="6509945" y="3679571"/>
            <a:ext cx="1533525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2" name="Freeform 19">
            <a:extLst>
              <a:ext uri="{FF2B5EF4-FFF2-40B4-BE49-F238E27FC236}">
                <a16:creationId xmlns:a16="http://schemas.microsoft.com/office/drawing/2014/main" id="{7F2B9F86-7D10-ED1E-8B42-AC40616BDE7F}"/>
              </a:ext>
            </a:extLst>
          </p:cNvPr>
          <p:cNvSpPr>
            <a:spLocks/>
          </p:cNvSpPr>
          <p:nvPr/>
        </p:nvSpPr>
        <p:spPr bwMode="gray">
          <a:xfrm>
            <a:off x="4411270" y="4382833"/>
            <a:ext cx="608013" cy="692150"/>
          </a:xfrm>
          <a:custGeom>
            <a:avLst/>
            <a:gdLst>
              <a:gd name="T0" fmla="*/ 606615 w 435"/>
              <a:gd name="T1" fmla="*/ 689032 h 222"/>
              <a:gd name="T2" fmla="*/ 606615 w 435"/>
              <a:gd name="T3" fmla="*/ 0 h 222"/>
              <a:gd name="T4" fmla="*/ 0 w 435"/>
              <a:gd name="T5" fmla="*/ 252541 h 222"/>
              <a:gd name="T6" fmla="*/ 0 w 435"/>
              <a:gd name="T7" fmla="*/ 689032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solidFill>
            <a:srgbClr val="A2A9B1"/>
          </a:solidFill>
          <a:ln w="9525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3" name="Rectangle 20">
            <a:extLst>
              <a:ext uri="{FF2B5EF4-FFF2-40B4-BE49-F238E27FC236}">
                <a16:creationId xmlns:a16="http://schemas.microsoft.com/office/drawing/2014/main" id="{1576C38D-AC29-2192-180B-2CCF930C74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12895" y="3798633"/>
            <a:ext cx="312738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2.</a:t>
            </a:r>
          </a:p>
        </p:txBody>
      </p:sp>
      <p:sp>
        <p:nvSpPr>
          <p:cNvPr id="104" name="Rectangle 21">
            <a:extLst>
              <a:ext uri="{FF2B5EF4-FFF2-40B4-BE49-F238E27FC236}">
                <a16:creationId xmlns:a16="http://schemas.microsoft.com/office/drawing/2014/main" id="{16F75310-4486-D480-AA7E-C15872FE44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51020" y="3798633"/>
            <a:ext cx="109378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Explique </a:t>
            </a:r>
            <a:b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la impresión </a:t>
            </a:r>
            <a:b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que le da.</a:t>
            </a:r>
          </a:p>
        </p:txBody>
      </p:sp>
      <p:sp>
        <p:nvSpPr>
          <p:cNvPr id="105" name="Rectangle 22">
            <a:extLst>
              <a:ext uri="{FF2B5EF4-FFF2-40B4-BE49-F238E27FC236}">
                <a16:creationId xmlns:a16="http://schemas.microsoft.com/office/drawing/2014/main" id="{02244D59-8CB3-E228-97CC-6484E928FD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01808" y="2404808"/>
            <a:ext cx="1093787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i="1" dirty="0">
                <a:solidFill>
                  <a:srgbClr val="000000"/>
                </a:solidFill>
                <a:latin typeface="Arial" charset="0"/>
                <a:cs typeface="Arial" charset="0"/>
              </a:rPr>
              <a:t>“Me parece que esto afecta su disposición para realizar las tareas que les asigné”.</a:t>
            </a:r>
          </a:p>
        </p:txBody>
      </p:sp>
      <p:sp>
        <p:nvSpPr>
          <p:cNvPr id="106" name="Line 23">
            <a:extLst>
              <a:ext uri="{FF2B5EF4-FFF2-40B4-BE49-F238E27FC236}">
                <a16:creationId xmlns:a16="http://schemas.microsoft.com/office/drawing/2014/main" id="{51A66F3C-8CF1-1841-DE75-71B7766EB864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4419208" y="3330321"/>
            <a:ext cx="406400" cy="207962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7" name="Line 24">
            <a:extLst>
              <a:ext uri="{FF2B5EF4-FFF2-40B4-BE49-F238E27FC236}">
                <a16:creationId xmlns:a16="http://schemas.microsoft.com/office/drawing/2014/main" id="{F7FD7349-56E4-F204-C4C1-B3E3ADAC6040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5008170" y="4382833"/>
            <a:ext cx="0" cy="69215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8" name="Line 25">
            <a:extLst>
              <a:ext uri="{FF2B5EF4-FFF2-40B4-BE49-F238E27FC236}">
                <a16:creationId xmlns:a16="http://schemas.microsoft.com/office/drawing/2014/main" id="{A8BC674B-7646-84F2-B34E-CF64A4C9E0D7}"/>
              </a:ext>
            </a:extLst>
          </p:cNvPr>
          <p:cNvSpPr>
            <a:spLocks noChangeShapeType="1"/>
          </p:cNvSpPr>
          <p:nvPr/>
        </p:nvSpPr>
        <p:spPr bwMode="gray">
          <a:xfrm>
            <a:off x="4998645" y="4382833"/>
            <a:ext cx="1535113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9" name="Rectangle 26">
            <a:extLst>
              <a:ext uri="{FF2B5EF4-FFF2-40B4-BE49-F238E27FC236}">
                <a16:creationId xmlns:a16="http://schemas.microsoft.com/office/drawing/2014/main" id="{0B38C56F-6277-A477-9D3A-0A7C3DC51A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61933" y="4455858"/>
            <a:ext cx="9652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Describa la observación concreta.</a:t>
            </a:r>
          </a:p>
        </p:txBody>
      </p:sp>
      <p:sp>
        <p:nvSpPr>
          <p:cNvPr id="110" name="Rectangle 27">
            <a:extLst>
              <a:ext uri="{FF2B5EF4-FFF2-40B4-BE49-F238E27FC236}">
                <a16:creationId xmlns:a16="http://schemas.microsoft.com/office/drawing/2014/main" id="{EDF4B59A-F295-AA73-ACF3-8FEA5DF0EE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74608" y="4455858"/>
            <a:ext cx="3143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1.</a:t>
            </a:r>
          </a:p>
        </p:txBody>
      </p:sp>
      <p:sp>
        <p:nvSpPr>
          <p:cNvPr id="111" name="Rectangle 28">
            <a:extLst>
              <a:ext uri="{FF2B5EF4-FFF2-40B4-BE49-F238E27FC236}">
                <a16:creationId xmlns:a16="http://schemas.microsoft.com/office/drawing/2014/main" id="{1B3C63A8-A4E7-4F0C-FB86-27C20BF6CB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85733" y="3501771"/>
            <a:ext cx="1098550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i="1" dirty="0">
                <a:solidFill>
                  <a:srgbClr val="000000"/>
                </a:solidFill>
                <a:latin typeface="Arial" charset="0"/>
                <a:cs typeface="Arial" charset="0"/>
              </a:rPr>
              <a:t>“He observado que su equipo no conoce los objetivos”.</a:t>
            </a:r>
          </a:p>
        </p:txBody>
      </p:sp>
      <p:sp>
        <p:nvSpPr>
          <p:cNvPr id="112" name="Line 29">
            <a:extLst>
              <a:ext uri="{FF2B5EF4-FFF2-40B4-BE49-F238E27FC236}">
                <a16:creationId xmlns:a16="http://schemas.microsoft.com/office/drawing/2014/main" id="{CFE945B6-6568-33BE-9A6A-F58624ECAF7E}"/>
              </a:ext>
            </a:extLst>
          </p:cNvPr>
          <p:cNvSpPr>
            <a:spLocks noChangeShapeType="1"/>
          </p:cNvSpPr>
          <p:nvPr/>
        </p:nvSpPr>
        <p:spPr bwMode="gray">
          <a:xfrm>
            <a:off x="3325420" y="5043233"/>
            <a:ext cx="1693863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13" name="Rectangle 30">
            <a:extLst>
              <a:ext uri="{FF2B5EF4-FFF2-40B4-BE49-F238E27FC236}">
                <a16:creationId xmlns:a16="http://schemas.microsoft.com/office/drawing/2014/main" id="{B805E649-75AB-99C0-F62E-B12B42FC0A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39933" y="5227383"/>
            <a:ext cx="10937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Evite discutir </a:t>
            </a:r>
            <a:b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o defenderse.</a:t>
            </a:r>
          </a:p>
        </p:txBody>
      </p:sp>
      <p:sp>
        <p:nvSpPr>
          <p:cNvPr id="114" name="Rectangle 31">
            <a:extLst>
              <a:ext uri="{FF2B5EF4-FFF2-40B4-BE49-F238E27FC236}">
                <a16:creationId xmlns:a16="http://schemas.microsoft.com/office/drawing/2014/main" id="{24D295F8-E940-49A4-19A5-7CC2495186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82970" y="5213096"/>
            <a:ext cx="117951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rate de entender.</a:t>
            </a:r>
          </a:p>
        </p:txBody>
      </p:sp>
      <p:sp>
        <p:nvSpPr>
          <p:cNvPr id="115" name="Rectangle 32">
            <a:extLst>
              <a:ext uri="{FF2B5EF4-FFF2-40B4-BE49-F238E27FC236}">
                <a16:creationId xmlns:a16="http://schemas.microsoft.com/office/drawing/2014/main" id="{4EE45EA0-7087-285D-6825-911DE67E5E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59358" y="3892296"/>
            <a:ext cx="1477962" cy="170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0500" lvl="1" indent="-190500" defTabSz="895350" fontAlgn="base">
              <a:spcBef>
                <a:spcPct val="0"/>
              </a:spcBef>
              <a:spcAft>
                <a:spcPts val="900"/>
              </a:spcAft>
              <a:buClr>
                <a:srgbClr val="4E2070"/>
              </a:buClr>
              <a:buSzPct val="125000"/>
              <a:buFont typeface="Times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Reconozca el punto de vista de la otra persona.</a:t>
            </a:r>
          </a:p>
          <a:p>
            <a:pPr marL="190500" lvl="1" indent="-190500" defTabSz="895350" fontAlgn="base">
              <a:spcBef>
                <a:spcPct val="0"/>
              </a:spcBef>
              <a:spcAft>
                <a:spcPts val="900"/>
              </a:spcAft>
              <a:buClr>
                <a:srgbClr val="4E2070"/>
              </a:buClr>
              <a:buSzPct val="125000"/>
              <a:buFont typeface="Times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Agradézcale.</a:t>
            </a:r>
          </a:p>
          <a:p>
            <a:pPr marL="190500" lvl="1" indent="-190500" defTabSz="895350" fontAlgn="base">
              <a:spcBef>
                <a:spcPct val="0"/>
              </a:spcBef>
              <a:spcAft>
                <a:spcPts val="900"/>
              </a:spcAft>
              <a:buClr>
                <a:srgbClr val="4E2070"/>
              </a:buClr>
              <a:buSzPct val="125000"/>
              <a:buFont typeface="Times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Considere si los feedback son válidos o en qué sentido se aplican.</a:t>
            </a:r>
          </a:p>
        </p:txBody>
      </p:sp>
      <p:sp>
        <p:nvSpPr>
          <p:cNvPr id="116" name="Rectangle 33">
            <a:extLst>
              <a:ext uri="{FF2B5EF4-FFF2-40B4-BE49-F238E27FC236}">
                <a16:creationId xmlns:a16="http://schemas.microsoft.com/office/drawing/2014/main" id="{E1C0D9F5-D799-8B91-37D4-E3F26F0F86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45045" y="830712"/>
            <a:ext cx="14779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chemeClr val="accent1"/>
                </a:solidFill>
                <a:latin typeface="Arial" charset="0"/>
                <a:cs typeface="Arial" charset="0"/>
              </a:rPr>
              <a:t>EXPECTATIVAS SUGERENCIAS</a:t>
            </a:r>
          </a:p>
        </p:txBody>
      </p:sp>
      <p:sp>
        <p:nvSpPr>
          <p:cNvPr id="117" name="Line 34">
            <a:extLst>
              <a:ext uri="{FF2B5EF4-FFF2-40B4-BE49-F238E27FC236}">
                <a16:creationId xmlns:a16="http://schemas.microsoft.com/office/drawing/2014/main" id="{517F982E-E720-D71E-4ACF-77010191BBE6}"/>
              </a:ext>
            </a:extLst>
          </p:cNvPr>
          <p:cNvSpPr>
            <a:spLocks noChangeShapeType="1"/>
          </p:cNvSpPr>
          <p:nvPr/>
        </p:nvSpPr>
        <p:spPr bwMode="gray">
          <a:xfrm>
            <a:off x="7945045" y="1217358"/>
            <a:ext cx="14636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18" name="Rectangle 35">
            <a:extLst>
              <a:ext uri="{FF2B5EF4-FFF2-40B4-BE49-F238E27FC236}">
                <a16:creationId xmlns:a16="http://schemas.microsoft.com/office/drawing/2014/main" id="{2E07C317-146E-B24A-9A97-B72A93143B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74608" y="824906"/>
            <a:ext cx="15748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chemeClr val="accent1"/>
                </a:solidFill>
                <a:latin typeface="Arial" charset="0"/>
                <a:cs typeface="Arial" charset="0"/>
              </a:rPr>
              <a:t>COMPORTAMIENTO OBSERVACI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200" b="1" dirty="0">
              <a:solidFill>
                <a:schemeClr val="accent1"/>
              </a:solidFill>
              <a:latin typeface="Arial" charset="0"/>
              <a:cs typeface="Arial" charset="0"/>
            </a:endParaRPr>
          </a:p>
        </p:txBody>
      </p:sp>
      <p:sp>
        <p:nvSpPr>
          <p:cNvPr id="119" name="Line 36">
            <a:extLst>
              <a:ext uri="{FF2B5EF4-FFF2-40B4-BE49-F238E27FC236}">
                <a16:creationId xmlns:a16="http://schemas.microsoft.com/office/drawing/2014/main" id="{CDAD6169-FC78-440E-57B5-5A4964E2BA82}"/>
              </a:ext>
            </a:extLst>
          </p:cNvPr>
          <p:cNvSpPr>
            <a:spLocks noChangeShapeType="1"/>
          </p:cNvSpPr>
          <p:nvPr/>
        </p:nvSpPr>
        <p:spPr bwMode="gray">
          <a:xfrm>
            <a:off x="3285733" y="1217358"/>
            <a:ext cx="14636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20" name="Rectangle 37">
            <a:extLst>
              <a:ext uri="{FF2B5EF4-FFF2-40B4-BE49-F238E27FC236}">
                <a16:creationId xmlns:a16="http://schemas.microsoft.com/office/drawing/2014/main" id="{FAD64DF1-2A4B-9D85-31EA-560FAEE7F8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01808" y="988758"/>
            <a:ext cx="1090612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chemeClr val="accent1"/>
                </a:solidFill>
                <a:latin typeface="Arial" charset="0"/>
                <a:cs typeface="Arial" charset="0"/>
              </a:rPr>
              <a:t>IMPACTO</a:t>
            </a:r>
          </a:p>
        </p:txBody>
      </p:sp>
      <p:sp>
        <p:nvSpPr>
          <p:cNvPr id="121" name="Line 38">
            <a:extLst>
              <a:ext uri="{FF2B5EF4-FFF2-40B4-BE49-F238E27FC236}">
                <a16:creationId xmlns:a16="http://schemas.microsoft.com/office/drawing/2014/main" id="{7E6F0293-6EAA-CA15-B66D-08E58F7A3B85}"/>
              </a:ext>
            </a:extLst>
          </p:cNvPr>
          <p:cNvSpPr>
            <a:spLocks noChangeShapeType="1"/>
          </p:cNvSpPr>
          <p:nvPr/>
        </p:nvSpPr>
        <p:spPr bwMode="gray">
          <a:xfrm>
            <a:off x="4901808" y="1217358"/>
            <a:ext cx="14636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22" name="Rectangle 39">
            <a:extLst>
              <a:ext uri="{FF2B5EF4-FFF2-40B4-BE49-F238E27FC236}">
                <a16:creationId xmlns:a16="http://schemas.microsoft.com/office/drawing/2014/main" id="{36D3BD84-DC6F-D357-A901-B659424409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0883" y="988758"/>
            <a:ext cx="1179512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 b="1" dirty="0">
                <a:solidFill>
                  <a:schemeClr val="accent1"/>
                </a:solidFill>
                <a:latin typeface="Arial" charset="0"/>
                <a:cs typeface="Arial" charset="0"/>
              </a:rPr>
              <a:t>ATENCION</a:t>
            </a:r>
          </a:p>
        </p:txBody>
      </p:sp>
      <p:sp>
        <p:nvSpPr>
          <p:cNvPr id="123" name="Line 40">
            <a:extLst>
              <a:ext uri="{FF2B5EF4-FFF2-40B4-BE49-F238E27FC236}">
                <a16:creationId xmlns:a16="http://schemas.microsoft.com/office/drawing/2014/main" id="{7107A500-F3C4-79A8-1F32-7E1C49593057}"/>
              </a:ext>
            </a:extLst>
          </p:cNvPr>
          <p:cNvSpPr>
            <a:spLocks noChangeShapeType="1"/>
          </p:cNvSpPr>
          <p:nvPr/>
        </p:nvSpPr>
        <p:spPr bwMode="gray">
          <a:xfrm>
            <a:off x="6390883" y="1217358"/>
            <a:ext cx="14636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24" name="Rectangle 41">
            <a:extLst>
              <a:ext uri="{FF2B5EF4-FFF2-40B4-BE49-F238E27FC236}">
                <a16:creationId xmlns:a16="http://schemas.microsoft.com/office/drawing/2014/main" id="{AC44A454-DB39-F7C4-401D-E3BBF06CF7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73058" y="5227383"/>
            <a:ext cx="965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Escuche sin interrumpir.</a:t>
            </a:r>
          </a:p>
        </p:txBody>
      </p:sp>
    </p:spTree>
    <p:extLst>
      <p:ext uri="{BB962C8B-B14F-4D97-AF65-F5344CB8AC3E}">
        <p14:creationId xmlns:p14="http://schemas.microsoft.com/office/powerpoint/2010/main" val="34022812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535" y="132076"/>
            <a:ext cx="10971947" cy="926432"/>
          </a:xfrm>
        </p:spPr>
        <p:txBody>
          <a:bodyPr/>
          <a:lstStyle/>
          <a:p>
            <a:r>
              <a:rPr lang="es-CR" b="1" dirty="0"/>
              <a:t>Tips para DAR feedback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201C080-5A6A-66E8-8FE0-65EE2523300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4909" y="1386500"/>
            <a:ext cx="10602838" cy="430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ararse para la sesión de feedback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untar cuál es el mejor momento para dar feedback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r  y mantener un “ambiente seguro”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cer feedback centrados en el comportamiento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er la autoestima del receptor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ir períodos de silencio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cer uso de habilidades de escucha activa (prestar atención, seguir, reflexionar) para adquirir información y entender el punto de vista del receptor </a:t>
            </a:r>
          </a:p>
        </p:txBody>
      </p:sp>
    </p:spTree>
    <p:extLst>
      <p:ext uri="{BB962C8B-B14F-4D97-AF65-F5344CB8AC3E}">
        <p14:creationId xmlns:p14="http://schemas.microsoft.com/office/powerpoint/2010/main" val="34265558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34" y="305806"/>
            <a:ext cx="10971947" cy="926432"/>
          </a:xfrm>
        </p:spPr>
        <p:txBody>
          <a:bodyPr/>
          <a:lstStyle/>
          <a:p>
            <a:r>
              <a:rPr lang="es-CR" b="1" dirty="0"/>
              <a:t>Tips para RECIBIR feedback</a:t>
            </a:r>
            <a:endParaRPr lang="es-CR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CFF3C32-FEBB-E6E9-AC8B-9E2B3529B830}"/>
              </a:ext>
            </a:extLst>
          </p:cNvPr>
          <p:cNvSpPr txBox="1">
            <a:spLocks noGrp="1"/>
          </p:cNvSpPr>
          <p:nvPr/>
        </p:nvSpPr>
        <p:spPr bwMode="auto">
          <a:xfrm>
            <a:off x="2009858" y="6523176"/>
            <a:ext cx="195263" cy="150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895350" eaLnBrk="0" hangingPunct="0">
              <a:lnSpc>
                <a:spcPct val="90000"/>
              </a:lnSpc>
            </a:pPr>
            <a:fld id="{36C65806-8151-4B78-826F-401E60AA38BC}" type="slidenum">
              <a:rPr lang="es-ES" sz="1100">
                <a:solidFill>
                  <a:srgbClr val="FFFFFF"/>
                </a:solidFill>
              </a:rPr>
              <a:pPr algn="ctr" defTabSz="895350" eaLnBrk="0" hangingPunct="0">
                <a:lnSpc>
                  <a:spcPct val="90000"/>
                </a:lnSpc>
              </a:pPr>
              <a:t>13</a:t>
            </a:fld>
            <a:r>
              <a:rPr lang="es-ES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18AAD6-639C-4E73-2845-00A2A1B256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70234" y="1680502"/>
            <a:ext cx="8936644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car las oportunidades para recibir feedback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rle al emisor el momento en que está preparado para asimilar los feedback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 específico sobre lo que le gustaría que el emisor evaluara y cómo le gustaría recibir los feedback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obar que entiende el mensaje de los feedback</a:t>
            </a: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endParaRPr lang="es-E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defTabSz="895350">
              <a:buClr>
                <a:schemeClr val="tx1"/>
              </a:buClr>
              <a:buSzPct val="125000"/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r el mensaje de los feedback con detenimiento y de manera proactiva; luego, usar la información para mejorar su propio desempeño y desarrollo</a:t>
            </a:r>
          </a:p>
        </p:txBody>
      </p:sp>
      <p:sp>
        <p:nvSpPr>
          <p:cNvPr id="9" name="8 Elipse">
            <a:extLst>
              <a:ext uri="{FF2B5EF4-FFF2-40B4-BE49-F238E27FC236}">
                <a16:creationId xmlns:a16="http://schemas.microsoft.com/office/drawing/2014/main" id="{FC2851AE-13D0-80B5-08F8-F91BB39EEF93}"/>
              </a:ext>
            </a:extLst>
          </p:cNvPr>
          <p:cNvSpPr/>
          <p:nvPr/>
        </p:nvSpPr>
        <p:spPr bwMode="auto">
          <a:xfrm>
            <a:off x="7611520" y="432504"/>
            <a:ext cx="1140209" cy="812837"/>
          </a:xfrm>
          <a:prstGeom prst="ellipse">
            <a:avLst/>
          </a:prstGeom>
          <a:solidFill>
            <a:srgbClr val="92D050"/>
          </a:solidFill>
          <a:ln w="190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er respetado</a:t>
            </a:r>
          </a:p>
        </p:txBody>
      </p:sp>
      <p:sp>
        <p:nvSpPr>
          <p:cNvPr id="10" name="9 Elipse">
            <a:extLst>
              <a:ext uri="{FF2B5EF4-FFF2-40B4-BE49-F238E27FC236}">
                <a16:creationId xmlns:a16="http://schemas.microsoft.com/office/drawing/2014/main" id="{0FF16B4A-5384-F7D1-44FE-2FC5415043BF}"/>
              </a:ext>
            </a:extLst>
          </p:cNvPr>
          <p:cNvSpPr/>
          <p:nvPr/>
        </p:nvSpPr>
        <p:spPr bwMode="auto">
          <a:xfrm>
            <a:off x="9096022" y="438147"/>
            <a:ext cx="1140209" cy="812837"/>
          </a:xfrm>
          <a:prstGeom prst="ellipse">
            <a:avLst/>
          </a:prstGeom>
          <a:solidFill>
            <a:srgbClr val="009900"/>
          </a:solidFill>
          <a:ln w="190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er escuchado</a:t>
            </a:r>
          </a:p>
        </p:txBody>
      </p:sp>
      <p:sp>
        <p:nvSpPr>
          <p:cNvPr id="11" name="10 Elipse">
            <a:extLst>
              <a:ext uri="{FF2B5EF4-FFF2-40B4-BE49-F238E27FC236}">
                <a16:creationId xmlns:a16="http://schemas.microsoft.com/office/drawing/2014/main" id="{B65BBDC8-6275-BE2B-A8E0-B5B62EAB4436}"/>
              </a:ext>
            </a:extLst>
          </p:cNvPr>
          <p:cNvSpPr/>
          <p:nvPr/>
        </p:nvSpPr>
        <p:spPr bwMode="auto">
          <a:xfrm>
            <a:off x="10546657" y="455079"/>
            <a:ext cx="1140209" cy="812837"/>
          </a:xfrm>
          <a:prstGeom prst="ellipse">
            <a:avLst/>
          </a:prstGeom>
          <a:solidFill>
            <a:srgbClr val="003300"/>
          </a:solidFill>
          <a:ln w="190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xpresar su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unto de vista</a:t>
            </a:r>
          </a:p>
        </p:txBody>
      </p:sp>
    </p:spTree>
    <p:extLst>
      <p:ext uri="{BB962C8B-B14F-4D97-AF65-F5344CB8AC3E}">
        <p14:creationId xmlns:p14="http://schemas.microsoft.com/office/powerpoint/2010/main" val="17847849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316" y="165747"/>
            <a:ext cx="10971947" cy="926432"/>
          </a:xfrm>
        </p:spPr>
        <p:txBody>
          <a:bodyPr>
            <a:normAutofit/>
          </a:bodyPr>
          <a:lstStyle/>
          <a:p>
            <a:r>
              <a:rPr lang="es-CR" b="1" dirty="0"/>
              <a:t>A participar TODOS….</a:t>
            </a:r>
            <a:br>
              <a:rPr lang="es-CR" b="1" dirty="0"/>
            </a:br>
            <a:r>
              <a:rPr lang="es-CR" sz="1600" b="1" dirty="0"/>
              <a:t>Role play </a:t>
            </a:r>
          </a:p>
        </p:txBody>
      </p:sp>
      <p:sp>
        <p:nvSpPr>
          <p:cNvPr id="3" name="Rounded Rectangular Callout 6">
            <a:extLst>
              <a:ext uri="{FF2B5EF4-FFF2-40B4-BE49-F238E27FC236}">
                <a16:creationId xmlns:a16="http://schemas.microsoft.com/office/drawing/2014/main" id="{D1F208B3-5A48-8F0B-F394-117A830AB6A4}"/>
              </a:ext>
            </a:extLst>
          </p:cNvPr>
          <p:cNvSpPr/>
          <p:nvPr/>
        </p:nvSpPr>
        <p:spPr>
          <a:xfrm>
            <a:off x="3612321" y="1039171"/>
            <a:ext cx="5602288" cy="2687637"/>
          </a:xfrm>
          <a:prstGeom prst="wedgeRoundRectCallout">
            <a:avLst>
              <a:gd name="adj1" fmla="val -43581"/>
              <a:gd name="adj2" fmla="val 68734"/>
              <a:gd name="adj3" fmla="val 16667"/>
            </a:avLst>
          </a:prstGeom>
          <a:solidFill>
            <a:schemeClr val="bg1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89563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199B6E0-363D-8923-662B-FE968EB99BD1}"/>
              </a:ext>
            </a:extLst>
          </p:cNvPr>
          <p:cNvSpPr txBox="1">
            <a:spLocks/>
          </p:cNvSpPr>
          <p:nvPr/>
        </p:nvSpPr>
        <p:spPr>
          <a:xfrm>
            <a:off x="12122150" y="6515238"/>
            <a:ext cx="195263" cy="152400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3763"/>
            <a:r>
              <a:rPr lang="en-US" dirty="0">
                <a:cs typeface="Arial" charset="0"/>
              </a:rPr>
              <a:t> 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228A4D57-13B4-D31D-A22E-673EFFBF19FC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3796266" y="1322084"/>
            <a:ext cx="5527675" cy="21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marL="255588" lvl="1" indent="-254000">
              <a:spcAft>
                <a:spcPct val="50000"/>
              </a:spcAft>
              <a:buClr>
                <a:schemeClr val="tx2"/>
              </a:buClr>
              <a:buSzPct val="125000"/>
              <a:tabLst>
                <a:tab pos="360363" algn="l"/>
              </a:tabLst>
            </a:pPr>
            <a:r>
              <a:rPr lang="es-ES" sz="2200" dirty="0"/>
              <a:t>Únete en pareja y sigue el modelo de retroalimentación visto anteriormente y       entabla  una conversación con tu compañero.  Tienen 5 minutos cada uno.  Luego deben presentarlo al resto del  equipo.</a:t>
            </a:r>
            <a:endParaRPr lang="en-US" dirty="0"/>
          </a:p>
        </p:txBody>
      </p:sp>
      <p:pic>
        <p:nvPicPr>
          <p:cNvPr id="7" name="Picture 2" descr="C:\Documents and Settings\L53121\Local Settings\Temporary Internet Files\Content.IE5\R9YBQY9G\MP900443497[1].jpg">
            <a:extLst>
              <a:ext uri="{FF2B5EF4-FFF2-40B4-BE49-F238E27FC236}">
                <a16:creationId xmlns:a16="http://schemas.microsoft.com/office/drawing/2014/main" id="{639FF84B-95BC-49F1-30C1-C61C4C5288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8600" y="4293321"/>
            <a:ext cx="2637666" cy="1755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471476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jemplo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4860C5B-157D-2E37-2C44-8D375F0E86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0336" y="2020667"/>
            <a:ext cx="2561664" cy="12064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92088" lvl="1" indent="-190500" eaLnBrk="0" hangingPunct="0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600" b="1" dirty="0"/>
              <a:t>Comportamiento</a:t>
            </a:r>
          </a:p>
          <a:p>
            <a:pPr marL="192088" lvl="1" indent="-190500" eaLnBrk="0" hangingPunct="0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600" b="1" dirty="0"/>
              <a:t>Impacto en tí y en los otros</a:t>
            </a:r>
          </a:p>
          <a:p>
            <a:pPr marL="192088" lvl="1" indent="-190500" eaLnBrk="0" hangingPunct="0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600" b="1" dirty="0"/>
              <a:t>Escucha</a:t>
            </a:r>
          </a:p>
          <a:p>
            <a:pPr marL="192088" lvl="1" indent="-190500" eaLnBrk="0" hangingPunct="0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600" b="1" dirty="0"/>
              <a:t>Expectativas</a:t>
            </a: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A5E7910B-8D59-FC74-4155-AC9C77876AD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307316" y="2626552"/>
            <a:ext cx="2324100" cy="22542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endParaRPr lang="en-US" dirty="0"/>
          </a:p>
        </p:txBody>
      </p:sp>
      <p:sp>
        <p:nvSpPr>
          <p:cNvPr id="6" name="1 Llamada rectangular redondeada">
            <a:extLst>
              <a:ext uri="{FF2B5EF4-FFF2-40B4-BE49-F238E27FC236}">
                <a16:creationId xmlns:a16="http://schemas.microsoft.com/office/drawing/2014/main" id="{6B21FD5B-8F3B-0479-0EAC-CB8194A95231}"/>
              </a:ext>
            </a:extLst>
          </p:cNvPr>
          <p:cNvSpPr/>
          <p:nvPr/>
        </p:nvSpPr>
        <p:spPr bwMode="auto">
          <a:xfrm>
            <a:off x="2522431" y="622222"/>
            <a:ext cx="8832031" cy="479779"/>
          </a:xfrm>
          <a:prstGeom prst="wedgeRoundRectCallout">
            <a:avLst/>
          </a:prstGeom>
          <a:solidFill>
            <a:srgbClr val="FF66FF"/>
          </a:solidFill>
          <a:ln w="19050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Me gustaría darte feedback sobre una situación de esta mañana. Tienes un momento ahora?</a:t>
            </a:r>
          </a:p>
        </p:txBody>
      </p:sp>
      <p:sp>
        <p:nvSpPr>
          <p:cNvPr id="7" name="8 Llamada rectangular redondeada">
            <a:extLst>
              <a:ext uri="{FF2B5EF4-FFF2-40B4-BE49-F238E27FC236}">
                <a16:creationId xmlns:a16="http://schemas.microsoft.com/office/drawing/2014/main" id="{0468AE96-3456-02BA-282C-DA628E7D9D20}"/>
              </a:ext>
            </a:extLst>
          </p:cNvPr>
          <p:cNvSpPr/>
          <p:nvPr/>
        </p:nvSpPr>
        <p:spPr bwMode="auto">
          <a:xfrm>
            <a:off x="2540248" y="1182084"/>
            <a:ext cx="1484489" cy="310449"/>
          </a:xfrm>
          <a:prstGeom prst="wedgeRoundRectCallout">
            <a:avLst/>
          </a:prstGeom>
          <a:solidFill>
            <a:srgbClr val="66FF66"/>
          </a:solidFill>
          <a:ln w="19050" cap="flat" cmpd="sng" algn="ctr">
            <a:solidFill>
              <a:srgbClr val="66FF66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Claro. Dime</a:t>
            </a:r>
          </a:p>
        </p:txBody>
      </p:sp>
      <p:sp>
        <p:nvSpPr>
          <p:cNvPr id="8" name="9 Llamada rectangular redondeada">
            <a:extLst>
              <a:ext uri="{FF2B5EF4-FFF2-40B4-BE49-F238E27FC236}">
                <a16:creationId xmlns:a16="http://schemas.microsoft.com/office/drawing/2014/main" id="{4A15EF59-F678-62EA-2289-3B0F4C7E7239}"/>
              </a:ext>
            </a:extLst>
          </p:cNvPr>
          <p:cNvSpPr/>
          <p:nvPr/>
        </p:nvSpPr>
        <p:spPr bwMode="auto">
          <a:xfrm>
            <a:off x="2580288" y="1615115"/>
            <a:ext cx="6657264" cy="387176"/>
          </a:xfrm>
          <a:prstGeom prst="wedgeRoundRectCallout">
            <a:avLst/>
          </a:prstGeom>
          <a:solidFill>
            <a:srgbClr val="FF66FF"/>
          </a:solidFill>
          <a:ln w="19050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Esta mañana </a:t>
            </a:r>
            <a:r>
              <a:rPr lang="es-ES" b="1" u="sng" dirty="0"/>
              <a:t>observé</a:t>
            </a:r>
            <a:r>
              <a:rPr lang="es-ES" dirty="0"/>
              <a:t> que estabas constantemente mirando tu celular.</a:t>
            </a:r>
          </a:p>
        </p:txBody>
      </p:sp>
      <p:sp>
        <p:nvSpPr>
          <p:cNvPr id="9" name="10 Llamada rectangular redondeada">
            <a:extLst>
              <a:ext uri="{FF2B5EF4-FFF2-40B4-BE49-F238E27FC236}">
                <a16:creationId xmlns:a16="http://schemas.microsoft.com/office/drawing/2014/main" id="{E078B2E8-0C86-CA48-E16C-F6F6DDB9B653}"/>
              </a:ext>
            </a:extLst>
          </p:cNvPr>
          <p:cNvSpPr/>
          <p:nvPr/>
        </p:nvSpPr>
        <p:spPr bwMode="auto">
          <a:xfrm>
            <a:off x="2835346" y="2174438"/>
            <a:ext cx="2810079" cy="335852"/>
          </a:xfrm>
          <a:prstGeom prst="wedgeRoundRectCallout">
            <a:avLst/>
          </a:prstGeom>
          <a:solidFill>
            <a:srgbClr val="66FF66"/>
          </a:solidFill>
          <a:ln w="19050" cap="flat" cmpd="sng" algn="ctr">
            <a:solidFill>
              <a:srgbClr val="66FF66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Sí, supongo que es verdad.</a:t>
            </a:r>
          </a:p>
        </p:txBody>
      </p:sp>
      <p:sp>
        <p:nvSpPr>
          <p:cNvPr id="10" name="11 Llamada rectangular redondeada">
            <a:extLst>
              <a:ext uri="{FF2B5EF4-FFF2-40B4-BE49-F238E27FC236}">
                <a16:creationId xmlns:a16="http://schemas.microsoft.com/office/drawing/2014/main" id="{66273C7C-C2BB-6ED7-A772-2B75E51F3122}"/>
              </a:ext>
            </a:extLst>
          </p:cNvPr>
          <p:cNvSpPr/>
          <p:nvPr/>
        </p:nvSpPr>
        <p:spPr bwMode="auto">
          <a:xfrm>
            <a:off x="2580288" y="2647828"/>
            <a:ext cx="5912554" cy="1253486"/>
          </a:xfrm>
          <a:prstGeom prst="wedgeRoundRectCallout">
            <a:avLst/>
          </a:prstGeom>
          <a:solidFill>
            <a:srgbClr val="FF66FF"/>
          </a:solidFill>
          <a:ln w="19050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El </a:t>
            </a:r>
            <a:r>
              <a:rPr lang="es-ES" b="1" u="sng" dirty="0"/>
              <a:t>impacto</a:t>
            </a:r>
            <a:r>
              <a:rPr lang="es-ES" dirty="0"/>
              <a:t> que eso tiene en mí y en todo tu equipo es que no</a:t>
            </a:r>
          </a:p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 valoras la seguridad en la máquina y el trabajo.</a:t>
            </a:r>
          </a:p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Todo el equipo depende de que estés atento. </a:t>
            </a:r>
          </a:p>
        </p:txBody>
      </p:sp>
      <p:sp>
        <p:nvSpPr>
          <p:cNvPr id="11" name="12 Llamada rectangular redondeada">
            <a:extLst>
              <a:ext uri="{FF2B5EF4-FFF2-40B4-BE49-F238E27FC236}">
                <a16:creationId xmlns:a16="http://schemas.microsoft.com/office/drawing/2014/main" id="{2FC82AA4-AF20-486C-BF8E-87928A640DC3}"/>
              </a:ext>
            </a:extLst>
          </p:cNvPr>
          <p:cNvSpPr/>
          <p:nvPr/>
        </p:nvSpPr>
        <p:spPr bwMode="auto">
          <a:xfrm>
            <a:off x="2973192" y="4108897"/>
            <a:ext cx="8492589" cy="521053"/>
          </a:xfrm>
          <a:prstGeom prst="wedgeRoundRectCallout">
            <a:avLst/>
          </a:prstGeom>
          <a:solidFill>
            <a:srgbClr val="66FF66"/>
          </a:solidFill>
          <a:ln w="19050" cap="flat" cmpd="sng" algn="ctr">
            <a:solidFill>
              <a:srgbClr val="66FF66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A decir verdad, tienes razón. Estaba esperando noticias de mi mujer que ha ido al médico</a:t>
            </a:r>
          </a:p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 por una cosa bastante seria. Era urgente. He estado distraído toda la mañana.</a:t>
            </a:r>
          </a:p>
        </p:txBody>
      </p:sp>
      <p:sp>
        <p:nvSpPr>
          <p:cNvPr id="12" name="13 Llamada rectangular redondeada">
            <a:extLst>
              <a:ext uri="{FF2B5EF4-FFF2-40B4-BE49-F238E27FC236}">
                <a16:creationId xmlns:a16="http://schemas.microsoft.com/office/drawing/2014/main" id="{5398129B-DF38-0FD6-9A88-240D79292336}"/>
              </a:ext>
            </a:extLst>
          </p:cNvPr>
          <p:cNvSpPr/>
          <p:nvPr/>
        </p:nvSpPr>
        <p:spPr bwMode="auto">
          <a:xfrm>
            <a:off x="1327014" y="4754434"/>
            <a:ext cx="9510613" cy="1253486"/>
          </a:xfrm>
          <a:prstGeom prst="wedgeRoundRectCallout">
            <a:avLst/>
          </a:prstGeom>
          <a:solidFill>
            <a:srgbClr val="FF66FF"/>
          </a:solidFill>
          <a:ln w="19050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Entiendo, espero que todo esté bien. Mi </a:t>
            </a:r>
            <a:r>
              <a:rPr lang="es-ES" b="1" u="sng" dirty="0"/>
              <a:t>sugerencia</a:t>
            </a:r>
            <a:r>
              <a:rPr lang="es-ES" dirty="0"/>
              <a:t>: La próxima sé explicito sobre el tema. </a:t>
            </a:r>
          </a:p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Comunícaselo a todo el equipo. Si tienes que salir 5 minutos el equipo lo entenderá.</a:t>
            </a:r>
          </a:p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 Puedes llamar a tu mujer si es urgente. A continuación vuelves y ya estás enfocado en el trabajo </a:t>
            </a:r>
          </a:p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de nuevo. De esta manera tanto tú como el equipo se beneficiará de una mejor comunicación.</a:t>
            </a:r>
          </a:p>
        </p:txBody>
      </p:sp>
      <p:sp>
        <p:nvSpPr>
          <p:cNvPr id="13" name="14 Llamada rectangular redondeada">
            <a:extLst>
              <a:ext uri="{FF2B5EF4-FFF2-40B4-BE49-F238E27FC236}">
                <a16:creationId xmlns:a16="http://schemas.microsoft.com/office/drawing/2014/main" id="{B3695ACB-DF06-718C-959F-0A7232AC0BF9}"/>
              </a:ext>
            </a:extLst>
          </p:cNvPr>
          <p:cNvSpPr/>
          <p:nvPr/>
        </p:nvSpPr>
        <p:spPr bwMode="auto">
          <a:xfrm>
            <a:off x="5573077" y="6128379"/>
            <a:ext cx="5606457" cy="415044"/>
          </a:xfrm>
          <a:prstGeom prst="wedgeRoundRectCallout">
            <a:avLst/>
          </a:prstGeom>
          <a:solidFill>
            <a:srgbClr val="66FF66"/>
          </a:solidFill>
          <a:ln w="19050" cap="flat" cmpd="sng" algn="ctr">
            <a:solidFill>
              <a:srgbClr val="66FF66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76300" eaLnBrk="0" hangingPunct="0">
              <a:spcAft>
                <a:spcPct val="25000"/>
              </a:spcAft>
              <a:buClr>
                <a:schemeClr val="tx2"/>
              </a:buClr>
              <a:tabLst>
                <a:tab pos="504825" algn="l"/>
              </a:tabLst>
            </a:pPr>
            <a:r>
              <a:rPr lang="es-ES" dirty="0"/>
              <a:t>Tienes razón. Muchas gracias. Es una buena observación</a:t>
            </a:r>
          </a:p>
        </p:txBody>
      </p:sp>
    </p:spTree>
    <p:extLst>
      <p:ext uri="{BB962C8B-B14F-4D97-AF65-F5344CB8AC3E}">
        <p14:creationId xmlns:p14="http://schemas.microsoft.com/office/powerpoint/2010/main" val="17536142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EED6DA-60CD-9234-2CF5-CE10BD6CE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b="1" dirty="0"/>
              <a:t>Al regresar analizaremos………</a:t>
            </a:r>
            <a:endParaRPr lang="en-US" b="1" dirty="0"/>
          </a:p>
        </p:txBody>
      </p:sp>
      <p:graphicFrame>
        <p:nvGraphicFramePr>
          <p:cNvPr id="13" name="Content Placeholder 10">
            <a:extLst>
              <a:ext uri="{FF2B5EF4-FFF2-40B4-BE49-F238E27FC236}">
                <a16:creationId xmlns:a16="http://schemas.microsoft.com/office/drawing/2014/main" id="{77F8D518-CD29-A3AF-DC8D-62911B0EC3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0164135"/>
              </p:ext>
            </p:extLst>
          </p:nvPr>
        </p:nvGraphicFramePr>
        <p:xfrm>
          <a:off x="614464" y="1609423"/>
          <a:ext cx="10980820" cy="3469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45698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0EC6EB13-F00B-8361-2213-D6038679AA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42" y="4766741"/>
            <a:ext cx="2414280" cy="186213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154D270-CC87-B0E4-EAF1-730286157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42" y="229124"/>
            <a:ext cx="2928312" cy="709280"/>
          </a:xfrm>
          <a:prstGeom prst="rect">
            <a:avLst/>
          </a:prstGeom>
        </p:spPr>
      </p:pic>
      <p:pic>
        <p:nvPicPr>
          <p:cNvPr id="9" name="Imagen 8" descr="Diagrama&#10;&#10;Descripción generada automáticamente con confianza media">
            <a:extLst>
              <a:ext uri="{FF2B5EF4-FFF2-40B4-BE49-F238E27FC236}">
                <a16:creationId xmlns:a16="http://schemas.microsoft.com/office/drawing/2014/main" id="{5C1E9441-E4C0-97D6-B548-781BCE3CBB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36" y="1476856"/>
            <a:ext cx="5491995" cy="320043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AC26B0B-0556-0B5A-7F88-5FD99B768828}"/>
              </a:ext>
            </a:extLst>
          </p:cNvPr>
          <p:cNvSpPr txBox="1">
            <a:spLocks/>
          </p:cNvSpPr>
          <p:nvPr/>
        </p:nvSpPr>
        <p:spPr>
          <a:xfrm>
            <a:off x="2408581" y="1566307"/>
            <a:ext cx="3872949" cy="33793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4400" kern="120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CR" sz="5400" b="1" dirty="0">
                <a:solidFill>
                  <a:schemeClr val="tx1"/>
                </a:solidFill>
              </a:rPr>
              <a:t>Gracias por participar!!!!</a:t>
            </a:r>
            <a:endParaRPr lang="en-US" sz="5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349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A624C-5030-3472-5AB4-F00AEABDF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EB30C-210C-D816-E8A5-4B55B2A1A7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513E35-C927-92DB-FA24-F8F07F1D38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F186987-E84E-49C2-AD12-1E8886D85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86" y="-179994"/>
            <a:ext cx="11935828" cy="6906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390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7E16-99FD-BB09-202E-DE27715F5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160" y="461727"/>
            <a:ext cx="6154399" cy="613611"/>
          </a:xfrm>
        </p:spPr>
        <p:txBody>
          <a:bodyPr>
            <a:normAutofit fontScale="90000"/>
          </a:bodyPr>
          <a:lstStyle/>
          <a:p>
            <a:r>
              <a:rPr lang="es-CR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Gráfico 6" descr="Chateo con relleno sólido">
            <a:extLst>
              <a:ext uri="{FF2B5EF4-FFF2-40B4-BE49-F238E27FC236}">
                <a16:creationId xmlns:a16="http://schemas.microsoft.com/office/drawing/2014/main" id="{69089C3E-BFEC-4AD0-E028-09921CD4B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480" y="3969269"/>
            <a:ext cx="280070" cy="280070"/>
          </a:xfrm>
          <a:prstGeom prst="rect">
            <a:avLst/>
          </a:prstGeom>
        </p:spPr>
      </p:pic>
      <p:pic>
        <p:nvPicPr>
          <p:cNvPr id="9" name="Gráfico 8" descr="Átomo con relleno sólido">
            <a:extLst>
              <a:ext uri="{FF2B5EF4-FFF2-40B4-BE49-F238E27FC236}">
                <a16:creationId xmlns:a16="http://schemas.microsoft.com/office/drawing/2014/main" id="{A06363BF-F45C-7063-0ADC-6D932E4909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9199" y="3190483"/>
            <a:ext cx="510051" cy="510051"/>
          </a:xfrm>
          <a:prstGeom prst="rect">
            <a:avLst/>
          </a:prstGeom>
        </p:spPr>
      </p:pic>
      <p:pic>
        <p:nvPicPr>
          <p:cNvPr id="11" name="Gráfico 10" descr="Sala de juntas con relleno sólido">
            <a:extLst>
              <a:ext uri="{FF2B5EF4-FFF2-40B4-BE49-F238E27FC236}">
                <a16:creationId xmlns:a16="http://schemas.microsoft.com/office/drawing/2014/main" id="{B3015996-4088-693D-8635-EE42492496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5490" y="4060324"/>
            <a:ext cx="510051" cy="510051"/>
          </a:xfrm>
          <a:prstGeom prst="rect">
            <a:avLst/>
          </a:prstGeom>
        </p:spPr>
      </p:pic>
      <p:pic>
        <p:nvPicPr>
          <p:cNvPr id="17" name="Gráfico 16" descr="Aula de clases con relleno sólido">
            <a:extLst>
              <a:ext uri="{FF2B5EF4-FFF2-40B4-BE49-F238E27FC236}">
                <a16:creationId xmlns:a16="http://schemas.microsoft.com/office/drawing/2014/main" id="{F8386AFE-A9D0-B017-68F4-99A01DD95C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0446" y="2411697"/>
            <a:ext cx="510051" cy="510051"/>
          </a:xfrm>
          <a:prstGeom prst="rect">
            <a:avLst/>
          </a:prstGeom>
        </p:spPr>
      </p:pic>
      <p:graphicFrame>
        <p:nvGraphicFramePr>
          <p:cNvPr id="19" name="Text Placeholder 2">
            <a:extLst>
              <a:ext uri="{FF2B5EF4-FFF2-40B4-BE49-F238E27FC236}">
                <a16:creationId xmlns:a16="http://schemas.microsoft.com/office/drawing/2014/main" id="{99B2D63C-5767-72B6-3224-DFD90C0F2E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8065795"/>
              </p:ext>
            </p:extLst>
          </p:nvPr>
        </p:nvGraphicFramePr>
        <p:xfrm>
          <a:off x="1253565" y="1612127"/>
          <a:ext cx="7882484" cy="36337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501070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Forma&#10;&#10;Descripción generada automáticamente con confianza media">
            <a:extLst>
              <a:ext uri="{FF2B5EF4-FFF2-40B4-BE49-F238E27FC236}">
                <a16:creationId xmlns:a16="http://schemas.microsoft.com/office/drawing/2014/main" id="{5AC0F1D2-4596-AAC3-0F94-05CC03678D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302"/>
          <a:stretch/>
        </p:blipFill>
        <p:spPr>
          <a:xfrm>
            <a:off x="5643556" y="1112520"/>
            <a:ext cx="4647001" cy="463296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3B18C12C-5CFF-EF10-15DC-F84AC3A029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441" y="1649179"/>
            <a:ext cx="4261574" cy="314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722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53431"/>
            <a:ext cx="7179627" cy="926432"/>
          </a:xfrm>
        </p:spPr>
        <p:txBody>
          <a:bodyPr/>
          <a:lstStyle/>
          <a:p>
            <a:r>
              <a:rPr lang="es-CR" b="1" dirty="0"/>
              <a:t>Qué es dar Feedback?</a:t>
            </a:r>
          </a:p>
        </p:txBody>
      </p:sp>
      <p:pic>
        <p:nvPicPr>
          <p:cNvPr id="16" name="Imagen 15" descr="Un par de personas caminando en un camino de tierra&#10;&#10;Descripción generada automáticamente con confianza media">
            <a:extLst>
              <a:ext uri="{FF2B5EF4-FFF2-40B4-BE49-F238E27FC236}">
                <a16:creationId xmlns:a16="http://schemas.microsoft.com/office/drawing/2014/main" id="{70B29824-81FA-E260-0249-55DAC9BE5F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390234" y="1106067"/>
            <a:ext cx="8801766" cy="4929247"/>
          </a:xfrm>
          <a:prstGeom prst="rect">
            <a:avLst/>
          </a:prstGeom>
        </p:spPr>
      </p:pic>
      <p:sp>
        <p:nvSpPr>
          <p:cNvPr id="19" name="Rectángulo 18">
            <a:extLst>
              <a:ext uri="{FF2B5EF4-FFF2-40B4-BE49-F238E27FC236}">
                <a16:creationId xmlns:a16="http://schemas.microsoft.com/office/drawing/2014/main" id="{AB4E26DB-AAE4-FE9E-2A41-680765C206B0}"/>
              </a:ext>
            </a:extLst>
          </p:cNvPr>
          <p:cNvSpPr/>
          <p:nvPr/>
        </p:nvSpPr>
        <p:spPr>
          <a:xfrm>
            <a:off x="0" y="1106067"/>
            <a:ext cx="3390234" cy="49292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</a:pPr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eedback es </a:t>
            </a:r>
            <a:r>
              <a:rPr lang="es-CO" sz="1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tir  las observaciones </a:t>
            </a:r>
          </a:p>
          <a:p>
            <a:pPr algn="ctr">
              <a:buClr>
                <a:schemeClr val="tx2"/>
              </a:buClr>
            </a:pPr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sobre  el </a:t>
            </a:r>
            <a:r>
              <a:rPr lang="es-CO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mpeño</a:t>
            </a:r>
            <a:endParaRPr lang="es-CO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chemeClr val="tx2"/>
              </a:buClr>
            </a:pPr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s-CO" sz="1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comportamientos </a:t>
            </a:r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relacionados con el trabajo.</a:t>
            </a:r>
          </a:p>
          <a:p>
            <a:pPr algn="ctr">
              <a:buClr>
                <a:schemeClr val="tx2"/>
              </a:buClr>
            </a:pPr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 La meta es lograr los objetivos al reforzar  o </a:t>
            </a:r>
            <a:r>
              <a:rPr lang="es-CO" sz="1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ar  el COMPORTAMIENTO</a:t>
            </a: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3D015D39-5B73-F215-9320-5C1DE25EA428}"/>
              </a:ext>
            </a:extLst>
          </p:cNvPr>
          <p:cNvSpPr/>
          <p:nvPr/>
        </p:nvSpPr>
        <p:spPr>
          <a:xfrm>
            <a:off x="3590906" y="2718679"/>
            <a:ext cx="5431174" cy="1296241"/>
          </a:xfrm>
          <a:prstGeom prst="roundRect">
            <a:avLst/>
          </a:prstGeom>
          <a:solidFill>
            <a:schemeClr val="accent1">
              <a:hueOff val="0"/>
              <a:satOff val="0"/>
              <a:lumOff val="0"/>
              <a:alpha val="27000"/>
            </a:schemeClr>
          </a:solidFill>
          <a:ln>
            <a:solidFill>
              <a:schemeClr val="accent1">
                <a:alpha val="33000"/>
              </a:schemeClr>
            </a:solidFill>
          </a:ln>
          <a:scene3d>
            <a:camera prst="orthographicFront"/>
            <a:lightRig rig="threePt" dir="t"/>
          </a:scene3d>
          <a:sp3d>
            <a:bevelT/>
            <a:bevelB w="152400" h="50800" prst="softRound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4BE50FC-4445-4020-B3F0-8744AC6D2A61}"/>
              </a:ext>
            </a:extLst>
          </p:cNvPr>
          <p:cNvSpPr txBox="1"/>
          <p:nvPr/>
        </p:nvSpPr>
        <p:spPr>
          <a:xfrm>
            <a:off x="3877787" y="2896892"/>
            <a:ext cx="46521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  <a:defRPr/>
            </a:pPr>
            <a:r>
              <a:rPr lang="es-CO" sz="1800" dirty="0">
                <a:solidFill>
                  <a:schemeClr val="bg1"/>
                </a:solidFill>
                <a:latin typeface="Constantia" panose="02030602050306030303" pitchFamily="18" charset="0"/>
              </a:rPr>
              <a:t>El feedback es una comunicación que refleja el comportamiento del otro y su impacto para influir en su conducta.</a:t>
            </a:r>
            <a:r>
              <a:rPr lang="es-AR" sz="1800" dirty="0">
                <a:solidFill>
                  <a:schemeClr val="bg1"/>
                </a:solidFill>
                <a:latin typeface="Bodoni MT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39DFDE98-54F4-CCFC-3384-7432A3C04613}"/>
              </a:ext>
            </a:extLst>
          </p:cNvPr>
          <p:cNvSpPr/>
          <p:nvPr/>
        </p:nvSpPr>
        <p:spPr>
          <a:xfrm>
            <a:off x="3590906" y="4123186"/>
            <a:ext cx="5431174" cy="762687"/>
          </a:xfrm>
          <a:prstGeom prst="roundRect">
            <a:avLst/>
          </a:prstGeom>
          <a:solidFill>
            <a:schemeClr val="accent1">
              <a:hueOff val="0"/>
              <a:satOff val="0"/>
              <a:lumOff val="0"/>
              <a:alpha val="27000"/>
            </a:schemeClr>
          </a:solidFill>
          <a:ln>
            <a:solidFill>
              <a:schemeClr val="accent1">
                <a:alpha val="33000"/>
              </a:schemeClr>
            </a:solidFill>
          </a:ln>
          <a:scene3d>
            <a:camera prst="orthographicFront"/>
            <a:lightRig rig="threePt" dir="t"/>
          </a:scene3d>
          <a:sp3d>
            <a:bevelT/>
            <a:bevelB w="152400" h="50800" prst="softRound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96AD8BC-86A8-1B06-0A95-6AE3CF77EC31}"/>
              </a:ext>
            </a:extLst>
          </p:cNvPr>
          <p:cNvSpPr txBox="1"/>
          <p:nvPr/>
        </p:nvSpPr>
        <p:spPr>
          <a:xfrm>
            <a:off x="3877787" y="4301399"/>
            <a:ext cx="4652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  <a:defRPr/>
            </a:pPr>
            <a:r>
              <a:rPr lang="es-AR" dirty="0">
                <a:solidFill>
                  <a:schemeClr val="bg1"/>
                </a:solidFill>
                <a:latin typeface="Constantia" panose="02030602050306030303" pitchFamily="18" charset="0"/>
              </a:rPr>
              <a:t>Es un acto de Esperanza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B7605449-49CC-85E3-FCE0-B3D6EEF3F13D}"/>
              </a:ext>
            </a:extLst>
          </p:cNvPr>
          <p:cNvSpPr/>
          <p:nvPr/>
        </p:nvSpPr>
        <p:spPr>
          <a:xfrm>
            <a:off x="3590906" y="5043353"/>
            <a:ext cx="5431174" cy="762687"/>
          </a:xfrm>
          <a:prstGeom prst="roundRect">
            <a:avLst/>
          </a:prstGeom>
          <a:solidFill>
            <a:schemeClr val="accent1">
              <a:hueOff val="0"/>
              <a:satOff val="0"/>
              <a:lumOff val="0"/>
              <a:alpha val="27000"/>
            </a:schemeClr>
          </a:solidFill>
          <a:ln>
            <a:solidFill>
              <a:schemeClr val="accent1">
                <a:alpha val="33000"/>
              </a:schemeClr>
            </a:solidFill>
          </a:ln>
          <a:scene3d>
            <a:camera prst="orthographicFront"/>
            <a:lightRig rig="threePt" dir="t"/>
          </a:scene3d>
          <a:sp3d>
            <a:bevelT/>
            <a:bevelB w="152400" h="50800" prst="softRound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5C19379-E971-543A-C7F1-52087981DD0B}"/>
              </a:ext>
            </a:extLst>
          </p:cNvPr>
          <p:cNvSpPr txBox="1"/>
          <p:nvPr/>
        </p:nvSpPr>
        <p:spPr>
          <a:xfrm>
            <a:off x="3877787" y="5221566"/>
            <a:ext cx="4652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  <a:defRPr/>
            </a:pPr>
            <a:r>
              <a:rPr lang="es-CO" dirty="0">
                <a:solidFill>
                  <a:schemeClr val="bg1"/>
                </a:solidFill>
                <a:latin typeface="Constantia" panose="02030602050306030303" pitchFamily="18" charset="0"/>
              </a:rPr>
              <a:t>Busca desarrollar al otro o la relación</a:t>
            </a:r>
          </a:p>
        </p:txBody>
      </p:sp>
    </p:spTree>
    <p:extLst>
      <p:ext uri="{BB962C8B-B14F-4D97-AF65-F5344CB8AC3E}">
        <p14:creationId xmlns:p14="http://schemas.microsoft.com/office/powerpoint/2010/main" val="3439872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2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925" y="304625"/>
            <a:ext cx="10971947" cy="926432"/>
          </a:xfrm>
        </p:spPr>
        <p:txBody>
          <a:bodyPr>
            <a:normAutofit fontScale="90000"/>
          </a:bodyPr>
          <a:lstStyle/>
          <a:p>
            <a:r>
              <a:rPr lang="es-ES" b="1" dirty="0"/>
              <a:t>Beneficios del Feedback en las Organizaciones</a:t>
            </a:r>
            <a:br>
              <a:rPr lang="es-ES" b="1" dirty="0"/>
            </a:br>
            <a:endParaRPr lang="es-ES" b="1" dirty="0"/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476E3643-427B-DEAC-60FD-B954E5DBA1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7623832"/>
              </p:ext>
            </p:extLst>
          </p:nvPr>
        </p:nvGraphicFramePr>
        <p:xfrm>
          <a:off x="-1528949" y="874036"/>
          <a:ext cx="9889435" cy="5320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A049BF3F-4EBC-7ABC-881D-78AB221CBD9E}"/>
              </a:ext>
            </a:extLst>
          </p:cNvPr>
          <p:cNvSpPr/>
          <p:nvPr/>
        </p:nvSpPr>
        <p:spPr>
          <a:xfrm>
            <a:off x="6211956" y="1950164"/>
            <a:ext cx="5914737" cy="3168488"/>
          </a:xfrm>
          <a:prstGeom prst="roundRect">
            <a:avLst>
              <a:gd name="adj" fmla="val 10000"/>
            </a:avLst>
          </a:prstGeom>
          <a:scene3d>
            <a:camera prst="orthographicFront"/>
            <a:lightRig rig="chilly" dir="t"/>
          </a:scene3d>
          <a:sp3d z="-12700" extrusionH="1700" prstMaterial="translucentPowder">
            <a:bevelT w="25400" h="6350" prst="softRound"/>
            <a:bevelB w="0" h="0" prst="convex"/>
          </a:sp3d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E813CA37-EB79-FC6F-9487-DE64890567E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59826" y="2695376"/>
            <a:ext cx="5914738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Miedo a la confrontación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Presiones de tiempo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No haber tenido buenos modelos a seguir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Malas experiencias en el pasado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Sentimientos de incompetencia si surgen emociones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Miedo de dañar a alguien o de deteriorar una relación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Miedo a no ser querido</a:t>
            </a:r>
          </a:p>
          <a:p>
            <a:pPr lvl="1" indent="-457200" defTabSz="895350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</a:rPr>
              <a:t>Miedo a hacer las cosas mal o a ser malinterpretado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40B81CA-1000-F4C5-3E24-43DA85605608}"/>
              </a:ext>
            </a:extLst>
          </p:cNvPr>
          <p:cNvSpPr txBox="1"/>
          <p:nvPr/>
        </p:nvSpPr>
        <p:spPr>
          <a:xfrm>
            <a:off x="6917634" y="2255510"/>
            <a:ext cx="4870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46CB"/>
                </a:solidFill>
                <a:effectLst/>
                <a:uLnTx/>
                <a:uFillTx/>
                <a:latin typeface="Lato" panose="020F0502020204030203" pitchFamily="34" charset="0"/>
                <a:ea typeface="+mj-ea"/>
                <a:cs typeface="Arial" panose="020B0604020202020204" pitchFamily="34" charset="0"/>
              </a:rPr>
              <a:t>Barreras</a:t>
            </a:r>
            <a:endParaRPr lang="es-AR" sz="2000" dirty="0"/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948A56E-D1E7-FD3E-8B9A-91189F69BEBC}"/>
              </a:ext>
            </a:extLst>
          </p:cNvPr>
          <p:cNvCxnSpPr>
            <a:cxnSpLocks/>
          </p:cNvCxnSpPr>
          <p:nvPr/>
        </p:nvCxnSpPr>
        <p:spPr>
          <a:xfrm>
            <a:off x="6436063" y="2655620"/>
            <a:ext cx="54665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n 26" descr="Forma&#10;&#10;Descripción generada automáticamente con confianza media">
            <a:extLst>
              <a:ext uri="{FF2B5EF4-FFF2-40B4-BE49-F238E27FC236}">
                <a16:creationId xmlns:a16="http://schemas.microsoft.com/office/drawing/2014/main" id="{DCF88C9E-8E8B-7C16-4153-F4909775B88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t="302"/>
          <a:stretch/>
        </p:blipFill>
        <p:spPr>
          <a:xfrm>
            <a:off x="2487666" y="2547673"/>
            <a:ext cx="1922021" cy="1916213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36736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925" y="287688"/>
            <a:ext cx="10971947" cy="842211"/>
          </a:xfrm>
        </p:spPr>
        <p:txBody>
          <a:bodyPr>
            <a:normAutofit fontScale="90000"/>
          </a:bodyPr>
          <a:lstStyle/>
          <a:p>
            <a:r>
              <a:rPr lang="es-ES" b="1" dirty="0"/>
              <a:t>Beneficios del Feedback en las Organizaciones</a:t>
            </a:r>
            <a:br>
              <a:rPr lang="es-ES" b="1" dirty="0"/>
            </a:br>
            <a:endParaRPr lang="es-ES" b="1" dirty="0"/>
          </a:p>
        </p:txBody>
      </p:sp>
      <p:graphicFrame>
        <p:nvGraphicFramePr>
          <p:cNvPr id="29" name="Content Placeholder 10">
            <a:extLst>
              <a:ext uri="{FF2B5EF4-FFF2-40B4-BE49-F238E27FC236}">
                <a16:creationId xmlns:a16="http://schemas.microsoft.com/office/drawing/2014/main" id="{217D04CE-AB39-EA32-EB7E-DE97BEEB24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4396813"/>
              </p:ext>
            </p:extLst>
          </p:nvPr>
        </p:nvGraphicFramePr>
        <p:xfrm>
          <a:off x="869316" y="1823667"/>
          <a:ext cx="10980820" cy="3469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0" name="Grupo 29">
            <a:extLst>
              <a:ext uri="{FF2B5EF4-FFF2-40B4-BE49-F238E27FC236}">
                <a16:creationId xmlns:a16="http://schemas.microsoft.com/office/drawing/2014/main" id="{95388C5E-1B99-42D7-AF23-B7C0B63C1B43}"/>
              </a:ext>
            </a:extLst>
          </p:cNvPr>
          <p:cNvGrpSpPr/>
          <p:nvPr/>
        </p:nvGrpSpPr>
        <p:grpSpPr>
          <a:xfrm>
            <a:off x="772863" y="1710512"/>
            <a:ext cx="1228260" cy="1145002"/>
            <a:chOff x="0" y="176584"/>
            <a:chExt cx="1316831" cy="1316831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A1A39C84-A56B-5F39-5BAF-20FE39BA0FDC}"/>
                </a:ext>
              </a:extLst>
            </p:cNvPr>
            <p:cNvSpPr/>
            <p:nvPr/>
          </p:nvSpPr>
          <p:spPr>
            <a:xfrm>
              <a:off x="0" y="176584"/>
              <a:ext cx="1316831" cy="13168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Elipse 4">
              <a:extLst>
                <a:ext uri="{FF2B5EF4-FFF2-40B4-BE49-F238E27FC236}">
                  <a16:creationId xmlns:a16="http://schemas.microsoft.com/office/drawing/2014/main" id="{0CF6C141-F7C1-532B-D8DB-95EA30D7D02D}"/>
                </a:ext>
              </a:extLst>
            </p:cNvPr>
            <p:cNvSpPr txBox="1"/>
            <p:nvPr/>
          </p:nvSpPr>
          <p:spPr>
            <a:xfrm>
              <a:off x="192845" y="369429"/>
              <a:ext cx="931141" cy="9311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000" b="1" i="0" kern="1200" dirty="0">
                  <a:solidFill>
                    <a:schemeClr val="bg1"/>
                  </a:solidFill>
                  <a:effectLst/>
                  <a:latin typeface="-apple-system"/>
                </a:rPr>
                <a:t>Mejora del Desempeño Individual</a:t>
              </a:r>
              <a:endParaRPr lang="es-AR" sz="1000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88DD5778-61CE-2F58-1617-956580DA310D}"/>
              </a:ext>
            </a:extLst>
          </p:cNvPr>
          <p:cNvGrpSpPr/>
          <p:nvPr/>
        </p:nvGrpSpPr>
        <p:grpSpPr>
          <a:xfrm>
            <a:off x="798069" y="2820865"/>
            <a:ext cx="1228260" cy="1145002"/>
            <a:chOff x="0" y="1483338"/>
            <a:chExt cx="1316831" cy="1316831"/>
          </a:xfrm>
        </p:grpSpPr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4A6350BE-4888-9980-8853-926B13220CFC}"/>
                </a:ext>
              </a:extLst>
            </p:cNvPr>
            <p:cNvSpPr/>
            <p:nvPr/>
          </p:nvSpPr>
          <p:spPr>
            <a:xfrm>
              <a:off x="0" y="1483338"/>
              <a:ext cx="1316831" cy="13168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Elipse 4">
              <a:extLst>
                <a:ext uri="{FF2B5EF4-FFF2-40B4-BE49-F238E27FC236}">
                  <a16:creationId xmlns:a16="http://schemas.microsoft.com/office/drawing/2014/main" id="{4961826D-B508-49FF-CCE7-831C3C98FF22}"/>
                </a:ext>
              </a:extLst>
            </p:cNvPr>
            <p:cNvSpPr txBox="1"/>
            <p:nvPr/>
          </p:nvSpPr>
          <p:spPr>
            <a:xfrm>
              <a:off x="192845" y="1676183"/>
              <a:ext cx="931141" cy="9311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+mj-lt"/>
                <a:buNone/>
              </a:pPr>
              <a:r>
                <a:rPr lang="es-ES" sz="1000" b="1" i="0" kern="1200" dirty="0">
                  <a:solidFill>
                    <a:schemeClr val="bg1"/>
                  </a:solidFill>
                  <a:effectLst/>
                  <a:latin typeface="-apple-system"/>
                </a:rPr>
                <a:t>Motivación y Compromiso</a:t>
              </a:r>
              <a:endParaRPr lang="es-AR" sz="1000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12F788E6-FB3F-B6AB-1A20-F3996F38C4D8}"/>
              </a:ext>
            </a:extLst>
          </p:cNvPr>
          <p:cNvGrpSpPr/>
          <p:nvPr/>
        </p:nvGrpSpPr>
        <p:grpSpPr>
          <a:xfrm>
            <a:off x="798069" y="3931217"/>
            <a:ext cx="1228260" cy="1145002"/>
            <a:chOff x="5" y="2827509"/>
            <a:chExt cx="1316831" cy="1316831"/>
          </a:xfrm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9C80A498-0764-6D6A-D08A-A716611141E8}"/>
                </a:ext>
              </a:extLst>
            </p:cNvPr>
            <p:cNvSpPr/>
            <p:nvPr/>
          </p:nvSpPr>
          <p:spPr>
            <a:xfrm>
              <a:off x="5" y="2827509"/>
              <a:ext cx="1316831" cy="13168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Elipse 4">
              <a:extLst>
                <a:ext uri="{FF2B5EF4-FFF2-40B4-BE49-F238E27FC236}">
                  <a16:creationId xmlns:a16="http://schemas.microsoft.com/office/drawing/2014/main" id="{D2E6B41B-33C3-B5CE-6DD1-295404200884}"/>
                </a:ext>
              </a:extLst>
            </p:cNvPr>
            <p:cNvSpPr txBox="1"/>
            <p:nvPr/>
          </p:nvSpPr>
          <p:spPr>
            <a:xfrm>
              <a:off x="192850" y="3020354"/>
              <a:ext cx="931141" cy="9311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+mj-lt"/>
                <a:buNone/>
              </a:pPr>
              <a:r>
                <a:rPr lang="es-ES" sz="1000" b="1" i="0" kern="1200" baseline="0" dirty="0">
                  <a:solidFill>
                    <a:schemeClr val="bg1"/>
                  </a:solidFill>
                  <a:effectLst/>
                  <a:latin typeface="-apple-system"/>
                </a:rPr>
                <a:t>Desarrollo</a:t>
              </a:r>
              <a:r>
                <a:rPr lang="es-ES" sz="1000" b="1" i="0" kern="1200" dirty="0">
                  <a:solidFill>
                    <a:schemeClr val="bg1"/>
                  </a:solidFill>
                  <a:effectLst/>
                  <a:latin typeface="-apple-system"/>
                </a:rPr>
                <a:t> Profesional</a:t>
              </a:r>
              <a:endParaRPr lang="es-AR" sz="1000" kern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51806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169" y="275542"/>
            <a:ext cx="10971947" cy="926432"/>
          </a:xfrm>
        </p:spPr>
        <p:txBody>
          <a:bodyPr>
            <a:normAutofit fontScale="90000"/>
          </a:bodyPr>
          <a:lstStyle/>
          <a:p>
            <a:r>
              <a:rPr lang="es-ES" b="1" dirty="0"/>
              <a:t>Beneficios del Feedback en las Organizaciones</a:t>
            </a:r>
            <a:br>
              <a:rPr lang="es-ES" b="1" dirty="0"/>
            </a:br>
            <a:endParaRPr lang="es-ES" b="1" dirty="0"/>
          </a:p>
        </p:txBody>
      </p:sp>
      <p:graphicFrame>
        <p:nvGraphicFramePr>
          <p:cNvPr id="29" name="Content Placeholder 10">
            <a:extLst>
              <a:ext uri="{FF2B5EF4-FFF2-40B4-BE49-F238E27FC236}">
                <a16:creationId xmlns:a16="http://schemas.microsoft.com/office/drawing/2014/main" id="{217D04CE-AB39-EA32-EB7E-DE97BEEB24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8328692"/>
              </p:ext>
            </p:extLst>
          </p:nvPr>
        </p:nvGraphicFramePr>
        <p:xfrm>
          <a:off x="970890" y="1567347"/>
          <a:ext cx="10980820" cy="3469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6" name="Grupo 15">
            <a:extLst>
              <a:ext uri="{FF2B5EF4-FFF2-40B4-BE49-F238E27FC236}">
                <a16:creationId xmlns:a16="http://schemas.microsoft.com/office/drawing/2014/main" id="{96CF7148-3FD8-1432-563C-1713C8ED6974}"/>
              </a:ext>
            </a:extLst>
          </p:cNvPr>
          <p:cNvGrpSpPr/>
          <p:nvPr/>
        </p:nvGrpSpPr>
        <p:grpSpPr>
          <a:xfrm>
            <a:off x="852377" y="1567347"/>
            <a:ext cx="1228260" cy="1145002"/>
            <a:chOff x="0" y="176584"/>
            <a:chExt cx="1316831" cy="1316831"/>
          </a:xfrm>
        </p:grpSpPr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9E868FFA-9044-DB2E-8426-2A6EDE52B29E}"/>
                </a:ext>
              </a:extLst>
            </p:cNvPr>
            <p:cNvSpPr/>
            <p:nvPr/>
          </p:nvSpPr>
          <p:spPr>
            <a:xfrm>
              <a:off x="0" y="176584"/>
              <a:ext cx="1316831" cy="13168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Elipse 4">
              <a:extLst>
                <a:ext uri="{FF2B5EF4-FFF2-40B4-BE49-F238E27FC236}">
                  <a16:creationId xmlns:a16="http://schemas.microsoft.com/office/drawing/2014/main" id="{13195C32-3693-AC58-4141-CB6EB702D16F}"/>
                </a:ext>
              </a:extLst>
            </p:cNvPr>
            <p:cNvSpPr txBox="1"/>
            <p:nvPr/>
          </p:nvSpPr>
          <p:spPr>
            <a:xfrm>
              <a:off x="192845" y="369429"/>
              <a:ext cx="931141" cy="9311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+mj-lt"/>
                <a:buNone/>
              </a:pPr>
              <a:r>
                <a:rPr lang="es-ES" sz="1000" b="1" i="0" kern="1200" dirty="0">
                  <a:solidFill>
                    <a:schemeClr val="bg1"/>
                  </a:solidFill>
                  <a:effectLst/>
                  <a:latin typeface="-apple-system"/>
                </a:rPr>
                <a:t>Mejora de Relaciones Interpersonales</a:t>
              </a:r>
              <a:endParaRPr lang="es-AR" sz="1000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EB7E3BAD-0B2E-6DC6-941F-45A1CBB2599D}"/>
              </a:ext>
            </a:extLst>
          </p:cNvPr>
          <p:cNvGrpSpPr/>
          <p:nvPr/>
        </p:nvGrpSpPr>
        <p:grpSpPr>
          <a:xfrm>
            <a:off x="877583" y="2677700"/>
            <a:ext cx="1228260" cy="1145002"/>
            <a:chOff x="0" y="1483338"/>
            <a:chExt cx="1316831" cy="1316831"/>
          </a:xfrm>
        </p:grpSpPr>
        <p:sp>
          <p:nvSpPr>
            <p:cNvPr id="39" name="Elipse 38">
              <a:extLst>
                <a:ext uri="{FF2B5EF4-FFF2-40B4-BE49-F238E27FC236}">
                  <a16:creationId xmlns:a16="http://schemas.microsoft.com/office/drawing/2014/main" id="{80779BF2-419B-A99C-711C-2878A7415AD1}"/>
                </a:ext>
              </a:extLst>
            </p:cNvPr>
            <p:cNvSpPr/>
            <p:nvPr/>
          </p:nvSpPr>
          <p:spPr>
            <a:xfrm>
              <a:off x="0" y="1483338"/>
              <a:ext cx="1316831" cy="13168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Elipse 4">
              <a:extLst>
                <a:ext uri="{FF2B5EF4-FFF2-40B4-BE49-F238E27FC236}">
                  <a16:creationId xmlns:a16="http://schemas.microsoft.com/office/drawing/2014/main" id="{250A8506-A52B-835C-3537-9EE22420DDD7}"/>
                </a:ext>
              </a:extLst>
            </p:cNvPr>
            <p:cNvSpPr txBox="1"/>
            <p:nvPr/>
          </p:nvSpPr>
          <p:spPr>
            <a:xfrm>
              <a:off x="192845" y="1676183"/>
              <a:ext cx="931141" cy="9311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000" b="1" i="0" kern="1200" dirty="0"/>
                <a:t>Identificación de Problemas y Soluciones</a:t>
              </a:r>
              <a:endParaRPr lang="es-AR" sz="1000" kern="1200" dirty="0"/>
            </a:p>
          </p:txBody>
        </p:sp>
      </p:grpSp>
      <p:grpSp>
        <p:nvGrpSpPr>
          <p:cNvPr id="41" name="Grupo 40">
            <a:extLst>
              <a:ext uri="{FF2B5EF4-FFF2-40B4-BE49-F238E27FC236}">
                <a16:creationId xmlns:a16="http://schemas.microsoft.com/office/drawing/2014/main" id="{2C4BD3E4-60AB-9800-1349-2C227ACF3581}"/>
              </a:ext>
            </a:extLst>
          </p:cNvPr>
          <p:cNvGrpSpPr/>
          <p:nvPr/>
        </p:nvGrpSpPr>
        <p:grpSpPr>
          <a:xfrm>
            <a:off x="877583" y="3788052"/>
            <a:ext cx="1228260" cy="1145002"/>
            <a:chOff x="5" y="2827509"/>
            <a:chExt cx="1316831" cy="1316831"/>
          </a:xfrm>
        </p:grpSpPr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D3108185-2A30-1A4E-90C1-4BAABD9F0BB5}"/>
                </a:ext>
              </a:extLst>
            </p:cNvPr>
            <p:cNvSpPr/>
            <p:nvPr/>
          </p:nvSpPr>
          <p:spPr>
            <a:xfrm>
              <a:off x="5" y="2827509"/>
              <a:ext cx="1316831" cy="13168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Elipse 4">
              <a:extLst>
                <a:ext uri="{FF2B5EF4-FFF2-40B4-BE49-F238E27FC236}">
                  <a16:creationId xmlns:a16="http://schemas.microsoft.com/office/drawing/2014/main" id="{0E073896-BE74-39DB-1EE2-95AB1548BD54}"/>
                </a:ext>
              </a:extLst>
            </p:cNvPr>
            <p:cNvSpPr txBox="1"/>
            <p:nvPr/>
          </p:nvSpPr>
          <p:spPr>
            <a:xfrm>
              <a:off x="192850" y="3020354"/>
              <a:ext cx="931141" cy="9311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000" b="1" i="0" kern="1200" dirty="0"/>
                <a:t>Cultura de Mejora Continua</a:t>
              </a:r>
              <a:endParaRPr lang="es-AR" sz="1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66008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D5A6C5B-368B-265B-0307-F56D9E4B92F6}"/>
              </a:ext>
            </a:extLst>
          </p:cNvPr>
          <p:cNvSpPr txBox="1">
            <a:spLocks/>
          </p:cNvSpPr>
          <p:nvPr/>
        </p:nvSpPr>
        <p:spPr>
          <a:xfrm>
            <a:off x="505857" y="49821"/>
            <a:ext cx="4766330" cy="14540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rgbClr val="0046CB"/>
                </a:solidFill>
                <a:latin typeface="Lato" panose="020F0502020204030203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AR" b="1" dirty="0"/>
              <a:t>Características de los </a:t>
            </a:r>
            <a:r>
              <a:rPr lang="es-AR" b="1" dirty="0" err="1"/>
              <a:t>Feedback</a:t>
            </a:r>
            <a:r>
              <a:rPr lang="es-AR" b="1" dirty="0"/>
              <a:t> Eficac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5BC3EF7-D511-24E0-7520-F37B9E6D7C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72187" y="1287899"/>
            <a:ext cx="6688832" cy="50420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Describen los </a:t>
            </a:r>
            <a:r>
              <a:rPr lang="en-US" sz="2400" b="1" dirty="0">
                <a:solidFill>
                  <a:schemeClr val="tx2"/>
                </a:solidFill>
              </a:rPr>
              <a:t>comportamientos observados</a:t>
            </a:r>
            <a:r>
              <a:rPr lang="en-US" sz="2400" dirty="0">
                <a:solidFill>
                  <a:schemeClr val="tx2"/>
                </a:solidFill>
              </a:rPr>
              <a:t>, no rasgos del carácter</a:t>
            </a: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e debe explicar </a:t>
            </a:r>
            <a:r>
              <a:rPr lang="en-US" sz="2400" b="1" dirty="0">
                <a:solidFill>
                  <a:schemeClr val="tx2"/>
                </a:solidFill>
              </a:rPr>
              <a:t>por qué </a:t>
            </a:r>
            <a:r>
              <a:rPr lang="en-US" sz="2400" dirty="0">
                <a:solidFill>
                  <a:schemeClr val="tx2"/>
                </a:solidFill>
              </a:rPr>
              <a:t>está recomendando un ajuste en el comportamiento</a:t>
            </a: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Incluyen sugerencias </a:t>
            </a:r>
            <a:r>
              <a:rPr lang="en-US" sz="2400" b="1" dirty="0">
                <a:solidFill>
                  <a:schemeClr val="tx2"/>
                </a:solidFill>
              </a:rPr>
              <a:t>relevantes que puedan llevarse a la práctica</a:t>
            </a: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e dan de manera </a:t>
            </a:r>
            <a:r>
              <a:rPr lang="en-US" sz="2400" b="1" dirty="0">
                <a:solidFill>
                  <a:schemeClr val="tx2"/>
                </a:solidFill>
              </a:rPr>
              <a:t>oportuna</a:t>
            </a: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pPr marL="342900" lvl="1" indent="-228600">
              <a:lnSpc>
                <a:spcPct val="90000"/>
              </a:lnSpc>
              <a:spcAft>
                <a:spcPts val="600"/>
              </a:spcAft>
              <a:buClr>
                <a:srgbClr val="4E207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e dan con </a:t>
            </a:r>
            <a:r>
              <a:rPr lang="en-US" sz="2400" b="1" dirty="0">
                <a:solidFill>
                  <a:schemeClr val="tx2"/>
                </a:solidFill>
              </a:rPr>
              <a:t>honestidad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80747C8A-E3C3-318D-C811-BC1D37759745}"/>
              </a:ext>
            </a:extLst>
          </p:cNvPr>
          <p:cNvSpPr/>
          <p:nvPr/>
        </p:nvSpPr>
        <p:spPr>
          <a:xfrm>
            <a:off x="326001" y="1424359"/>
            <a:ext cx="4703113" cy="4192480"/>
          </a:xfrm>
          <a:prstGeom prst="ellipse">
            <a:avLst/>
          </a:prstGeom>
          <a:blipFill rotWithShape="1">
            <a:blip r:embed="rId2"/>
            <a:srcRect/>
            <a:stretch>
              <a:fillRect t="-4000" b="-4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807202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44D7F-32BF-C810-D8B7-E1D120F6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909" y="-127489"/>
            <a:ext cx="10971947" cy="926432"/>
          </a:xfrm>
        </p:spPr>
        <p:txBody>
          <a:bodyPr>
            <a:normAutofit/>
          </a:bodyPr>
          <a:lstStyle/>
          <a:p>
            <a:r>
              <a:rPr lang="es-CR" b="1" dirty="0"/>
              <a:t>Consejos prácticos para brindar…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34DD2E1F-81C5-85A3-E85F-4B7ADCF09B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3796" y="2023441"/>
            <a:ext cx="3458096" cy="3920514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C9126544-DFC6-D831-2538-0F6EE3B8DE4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909" y="2023441"/>
            <a:ext cx="3925888" cy="2012689"/>
          </a:xfrm>
          <a:prstGeom prst="rect">
            <a:avLst/>
          </a:prstGeom>
          <a:solidFill>
            <a:schemeClr val="lt1">
              <a:alpha val="0"/>
            </a:schemeClr>
          </a:solidFill>
          <a:ln w="254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▪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–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9000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4685" eaLnBrk="1" hangingPunct="1">
              <a:buFontTx/>
              <a:buNone/>
              <a:defRPr/>
            </a:pPr>
            <a:endParaRPr lang="es-CO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Cómo Hacerlo?       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cerlo en el momento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cerlo público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 específico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le mucha importancia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galo con frecuencia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 sincer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0EBEAC-9640-86CF-7FCD-A8E08BF3C63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0909" y="4431243"/>
            <a:ext cx="3925888" cy="1512712"/>
          </a:xfrm>
          <a:prstGeom prst="rect">
            <a:avLst/>
          </a:prstGeom>
          <a:solidFill>
            <a:schemeClr val="lt1">
              <a:alpha val="0"/>
            </a:schemeClr>
          </a:solidFill>
          <a:ln w="254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▪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–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9000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4685" eaLnBrk="1" hangingPunct="1">
              <a:buFontTx/>
              <a:buNone/>
              <a:defRPr/>
            </a:pPr>
            <a:endParaRPr lang="es-CO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que  Hacerlo       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imula que se repitan los comportamientos positivos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uerza mas la autoestima</a:t>
            </a:r>
          </a:p>
          <a:p>
            <a:pPr marL="0" indent="0" algn="ctr" defTabSz="894685" eaLnBrk="1" hangingPunct="1"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uerza mas la relación</a:t>
            </a:r>
          </a:p>
          <a:p>
            <a:pPr marL="0" indent="0" algn="ctr" defTabSz="894685" eaLnBrk="1" hangingPunct="1">
              <a:buFontTx/>
              <a:buNone/>
              <a:defRPr/>
            </a:pPr>
            <a:endParaRPr lang="es-CO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17 Flecha abajo">
            <a:extLst>
              <a:ext uri="{FF2B5EF4-FFF2-40B4-BE49-F238E27FC236}">
                <a16:creationId xmlns:a16="http://schemas.microsoft.com/office/drawing/2014/main" id="{8BB6BF1A-6109-AA2D-7392-FBE514D19ECF}"/>
              </a:ext>
            </a:extLst>
          </p:cNvPr>
          <p:cNvSpPr/>
          <p:nvPr/>
        </p:nvSpPr>
        <p:spPr bwMode="auto">
          <a:xfrm>
            <a:off x="1918841" y="4092575"/>
            <a:ext cx="316089" cy="282222"/>
          </a:xfrm>
          <a:prstGeom prst="downArrow">
            <a:avLst/>
          </a:prstGeom>
          <a:solidFill>
            <a:srgbClr val="0065CC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23544554-86C5-FD12-5A73-7A213B3AEFE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27661" y="2029084"/>
            <a:ext cx="3925888" cy="2012689"/>
          </a:xfrm>
          <a:prstGeom prst="rect">
            <a:avLst/>
          </a:prstGeom>
          <a:solidFill>
            <a:schemeClr val="lt1">
              <a:alpha val="0"/>
            </a:schemeClr>
          </a:solidFill>
          <a:ln w="254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▪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–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9000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4685" eaLnBrk="1" hangingPunct="1">
              <a:buFontTx/>
              <a:buNone/>
              <a:defRPr/>
            </a:pPr>
            <a:endParaRPr lang="es-CO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Cómo Hacerlo?       </a:t>
            </a:r>
          </a:p>
          <a:p>
            <a:pPr marL="0" indent="0" algn="ctr" defTabSz="894685">
              <a:buClr>
                <a:schemeClr val="tx2"/>
              </a:buClr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ga sus emociones    </a:t>
            </a:r>
            <a:endParaRPr lang="es-CO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defTabSz="894685">
              <a:buClr>
                <a:schemeClr val="tx2"/>
              </a:buClr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bajo control</a:t>
            </a:r>
          </a:p>
          <a:p>
            <a:pPr marL="0" indent="0" algn="ctr" defTabSz="894685" eaLnBrk="1" hangingPunct="1">
              <a:buNone/>
              <a:defRPr/>
            </a:pPr>
            <a:r>
              <a:rPr lang="es-CO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ntre un lugar privado</a:t>
            </a:r>
          </a:p>
          <a:p>
            <a:pPr marL="0" indent="0" algn="ctr" defTabSz="894685">
              <a:buClr>
                <a:schemeClr val="tx2"/>
              </a:buClr>
              <a:buNone/>
              <a:defRPr/>
            </a:pPr>
            <a:r>
              <a:rPr lang="es-CO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óquese en las acciones,    </a:t>
            </a:r>
          </a:p>
          <a:p>
            <a:pPr marL="0" indent="0" algn="ctr" defTabSz="894685">
              <a:buClr>
                <a:schemeClr val="tx2"/>
              </a:buClr>
              <a:buNone/>
              <a:defRPr/>
            </a:pPr>
            <a:r>
              <a:rPr lang="es-CO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no en las personas </a:t>
            </a:r>
          </a:p>
          <a:p>
            <a:pPr marL="0" indent="0" algn="ctr" defTabSz="894685">
              <a:buClr>
                <a:schemeClr val="tx2"/>
              </a:buClr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 especifico y claro</a:t>
            </a:r>
          </a:p>
          <a:p>
            <a:pPr marL="0" indent="0" algn="ctr" defTabSz="894685">
              <a:buClr>
                <a:schemeClr val="tx2"/>
              </a:buClr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 oportuno</a:t>
            </a:r>
          </a:p>
          <a:p>
            <a:pPr defTabSz="894685">
              <a:buClr>
                <a:schemeClr val="tx2"/>
              </a:buClr>
              <a:defRPr/>
            </a:pPr>
            <a:endParaRPr lang="es-CO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defTabSz="894685" eaLnBrk="1" hangingPunct="1">
              <a:buNone/>
              <a:defRPr/>
            </a:pPr>
            <a:endParaRPr lang="es-CO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A4B24EF9-C145-8681-99F9-DA356247DF48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27661" y="4436886"/>
            <a:ext cx="3925888" cy="1512712"/>
          </a:xfrm>
          <a:prstGeom prst="rect">
            <a:avLst/>
          </a:prstGeom>
          <a:solidFill>
            <a:schemeClr val="lt1">
              <a:alpha val="0"/>
            </a:schemeClr>
          </a:solidFill>
          <a:ln w="254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▪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–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9000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charset="0"/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4685" eaLnBrk="1" hangingPunct="1">
              <a:buFontTx/>
              <a:buNone/>
              <a:defRPr/>
            </a:pPr>
            <a:endParaRPr lang="es-CO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que Hacerlo       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usca construir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ne cambios controlables</a:t>
            </a:r>
          </a:p>
          <a:p>
            <a:pPr marL="0" indent="0" algn="ctr" defTabSz="894685" eaLnBrk="1" hangingPunct="1">
              <a:buFontTx/>
              <a:buNone/>
              <a:defRPr/>
            </a:pPr>
            <a:r>
              <a:rPr lang="es-CO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ocado en el futuro</a:t>
            </a:r>
          </a:p>
        </p:txBody>
      </p:sp>
      <p:sp>
        <p:nvSpPr>
          <p:cNvPr id="19" name="22 Flecha abajo">
            <a:extLst>
              <a:ext uri="{FF2B5EF4-FFF2-40B4-BE49-F238E27FC236}">
                <a16:creationId xmlns:a16="http://schemas.microsoft.com/office/drawing/2014/main" id="{B4130379-32A7-DDB7-1D08-5EAEB8450FB5}"/>
              </a:ext>
            </a:extLst>
          </p:cNvPr>
          <p:cNvSpPr/>
          <p:nvPr/>
        </p:nvSpPr>
        <p:spPr bwMode="auto">
          <a:xfrm>
            <a:off x="6225593" y="4098218"/>
            <a:ext cx="316089" cy="282222"/>
          </a:xfrm>
          <a:prstGeom prst="downArrow">
            <a:avLst/>
          </a:prstGeom>
          <a:solidFill>
            <a:srgbClr val="0065CC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6C701025-96A0-1244-2422-3B5D7F93A3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1925" y="859944"/>
            <a:ext cx="2203179" cy="855653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E1DE5C6F-389F-8647-08B7-AF04489FDA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8667" y="840717"/>
            <a:ext cx="2203179" cy="855653"/>
          </a:xfrm>
          <a:prstGeom prst="rect">
            <a:avLst/>
          </a:prstGeom>
        </p:spPr>
      </p:pic>
      <p:sp>
        <p:nvSpPr>
          <p:cNvPr id="22" name="3 Flecha abajo">
            <a:extLst>
              <a:ext uri="{FF2B5EF4-FFF2-40B4-BE49-F238E27FC236}">
                <a16:creationId xmlns:a16="http://schemas.microsoft.com/office/drawing/2014/main" id="{EB91FB08-C2CC-EE33-9D42-FFDDB462D998}"/>
              </a:ext>
            </a:extLst>
          </p:cNvPr>
          <p:cNvSpPr/>
          <p:nvPr/>
        </p:nvSpPr>
        <p:spPr bwMode="auto">
          <a:xfrm>
            <a:off x="1918841" y="1748255"/>
            <a:ext cx="265649" cy="203647"/>
          </a:xfrm>
          <a:prstGeom prst="downArrow">
            <a:avLst/>
          </a:prstGeom>
          <a:solidFill>
            <a:srgbClr val="0065CC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21 Flecha abajo">
            <a:extLst>
              <a:ext uri="{FF2B5EF4-FFF2-40B4-BE49-F238E27FC236}">
                <a16:creationId xmlns:a16="http://schemas.microsoft.com/office/drawing/2014/main" id="{1FE23A5D-7557-3370-4F9E-2E1C591C5E35}"/>
              </a:ext>
            </a:extLst>
          </p:cNvPr>
          <p:cNvSpPr/>
          <p:nvPr/>
        </p:nvSpPr>
        <p:spPr bwMode="auto">
          <a:xfrm>
            <a:off x="6300689" y="1770517"/>
            <a:ext cx="265649" cy="203647"/>
          </a:xfrm>
          <a:prstGeom prst="downArrow">
            <a:avLst/>
          </a:prstGeom>
          <a:solidFill>
            <a:srgbClr val="0065CC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F65D233F-5D82-F5F0-6AEE-895DDE3C26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1729" y="6139433"/>
            <a:ext cx="7396162" cy="1539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chemeClr val="tx2"/>
              </a:buClr>
            </a:pPr>
            <a:r>
              <a:rPr lang="es-CO" sz="1000" dirty="0">
                <a:solidFill>
                  <a:schemeClr val="bg1"/>
                </a:solidFill>
              </a:rPr>
              <a:t>Fuente: Investigación y análisis de McKinsey</a:t>
            </a:r>
          </a:p>
        </p:txBody>
      </p:sp>
      <p:sp>
        <p:nvSpPr>
          <p:cNvPr id="30" name="Lágrima 29">
            <a:extLst>
              <a:ext uri="{FF2B5EF4-FFF2-40B4-BE49-F238E27FC236}">
                <a16:creationId xmlns:a16="http://schemas.microsoft.com/office/drawing/2014/main" id="{D44FC7F2-3307-33BF-0F91-725D026869DA}"/>
              </a:ext>
            </a:extLst>
          </p:cNvPr>
          <p:cNvSpPr/>
          <p:nvPr/>
        </p:nvSpPr>
        <p:spPr>
          <a:xfrm rot="2220971">
            <a:off x="316313" y="813084"/>
            <a:ext cx="970828" cy="853936"/>
          </a:xfrm>
          <a:prstGeom prst="teardrop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pic>
        <p:nvPicPr>
          <p:cNvPr id="31" name="Gráfico 30" descr="Reunión con relleno sólido">
            <a:extLst>
              <a:ext uri="{FF2B5EF4-FFF2-40B4-BE49-F238E27FC236}">
                <a16:creationId xmlns:a16="http://schemas.microsoft.com/office/drawing/2014/main" id="{0ABB6B87-1C1A-D8FD-5B7F-DC703924FA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9849" y="999128"/>
            <a:ext cx="597687" cy="597687"/>
          </a:xfrm>
          <a:prstGeom prst="rect">
            <a:avLst/>
          </a:prstGeom>
        </p:spPr>
      </p:pic>
      <p:pic>
        <p:nvPicPr>
          <p:cNvPr id="32" name="Gráfico 31" descr="Chateo con relleno sólido">
            <a:extLst>
              <a:ext uri="{FF2B5EF4-FFF2-40B4-BE49-F238E27FC236}">
                <a16:creationId xmlns:a16="http://schemas.microsoft.com/office/drawing/2014/main" id="{DD443646-64D5-74AF-F09E-CBF60807CD9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8726" y="876035"/>
            <a:ext cx="331643" cy="331643"/>
          </a:xfrm>
          <a:prstGeom prst="rect">
            <a:avLst/>
          </a:prstGeom>
        </p:spPr>
      </p:pic>
      <p:sp>
        <p:nvSpPr>
          <p:cNvPr id="35" name="Lágrima 34">
            <a:extLst>
              <a:ext uri="{FF2B5EF4-FFF2-40B4-BE49-F238E27FC236}">
                <a16:creationId xmlns:a16="http://schemas.microsoft.com/office/drawing/2014/main" id="{CC4ABF09-B60E-4C21-B6E4-42F3726ED623}"/>
              </a:ext>
            </a:extLst>
          </p:cNvPr>
          <p:cNvSpPr/>
          <p:nvPr/>
        </p:nvSpPr>
        <p:spPr>
          <a:xfrm rot="2220971">
            <a:off x="4483794" y="780710"/>
            <a:ext cx="970828" cy="853936"/>
          </a:xfrm>
          <a:prstGeom prst="teardrop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pic>
        <p:nvPicPr>
          <p:cNvPr id="36" name="Gráfico 35" descr="Chateo con relleno sólido">
            <a:extLst>
              <a:ext uri="{FF2B5EF4-FFF2-40B4-BE49-F238E27FC236}">
                <a16:creationId xmlns:a16="http://schemas.microsoft.com/office/drawing/2014/main" id="{922420B7-F479-6073-5EA9-3DF624D5704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03386" y="843032"/>
            <a:ext cx="331643" cy="331643"/>
          </a:xfrm>
          <a:prstGeom prst="rect">
            <a:avLst/>
          </a:prstGeom>
        </p:spPr>
      </p:pic>
      <p:pic>
        <p:nvPicPr>
          <p:cNvPr id="37" name="Gráfico 36" descr="Sala de juntas con relleno sólido">
            <a:extLst>
              <a:ext uri="{FF2B5EF4-FFF2-40B4-BE49-F238E27FC236}">
                <a16:creationId xmlns:a16="http://schemas.microsoft.com/office/drawing/2014/main" id="{6349790C-5512-D718-AB37-C3FE70D54E4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38233" y="875111"/>
            <a:ext cx="758860" cy="758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314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  <p:tag name="THINKCELLSHAPEDONOTDELETE" val="pGORwfXK.f06FARxMMeRm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9</TotalTime>
  <Words>1241</Words>
  <Application>Microsoft Office PowerPoint</Application>
  <PresentationFormat>Panorámica</PresentationFormat>
  <Paragraphs>190</Paragraphs>
  <Slides>18</Slides>
  <Notes>0</Notes>
  <HiddenSlides>2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8</vt:i4>
      </vt:variant>
    </vt:vector>
  </HeadingPairs>
  <TitlesOfParts>
    <vt:vector size="31" baseType="lpstr">
      <vt:lpstr>-apple-system</vt:lpstr>
      <vt:lpstr>Arial</vt:lpstr>
      <vt:lpstr>Bodoni MT</vt:lpstr>
      <vt:lpstr>Bookman Old Style</vt:lpstr>
      <vt:lpstr>Calibri</vt:lpstr>
      <vt:lpstr>Calibri Light</vt:lpstr>
      <vt:lpstr>Constantia</vt:lpstr>
      <vt:lpstr>Courier New</vt:lpstr>
      <vt:lpstr>Lato</vt:lpstr>
      <vt:lpstr>Times</vt:lpstr>
      <vt:lpstr>Wingdings</vt:lpstr>
      <vt:lpstr>Office Theme</vt:lpstr>
      <vt:lpstr>1_Office Theme</vt:lpstr>
      <vt:lpstr>Feedback… A la Connie Clark</vt:lpstr>
      <vt:lpstr>Agenda</vt:lpstr>
      <vt:lpstr>Presentación de PowerPoint</vt:lpstr>
      <vt:lpstr>Qué es dar Feedback?</vt:lpstr>
      <vt:lpstr>Beneficios del Feedback en las Organizaciones </vt:lpstr>
      <vt:lpstr>Beneficios del Feedback en las Organizaciones </vt:lpstr>
      <vt:lpstr>Beneficios del Feedback en las Organizaciones </vt:lpstr>
      <vt:lpstr>Presentación de PowerPoint</vt:lpstr>
      <vt:lpstr>Consejos prácticos para brindar…</vt:lpstr>
      <vt:lpstr>Modelo CIE</vt:lpstr>
      <vt:lpstr>Modelo 4 pasos para brindar y recibir Feedback Eficaz</vt:lpstr>
      <vt:lpstr>Tips para DAR feedback</vt:lpstr>
      <vt:lpstr>Tips para RECIBIR feedback</vt:lpstr>
      <vt:lpstr>A participar TODOS…. Role play </vt:lpstr>
      <vt:lpstr>Ejemplo</vt:lpstr>
      <vt:lpstr>Al regresar analizaremos………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MAND PLANNING FORUM</dc:title>
  <dc:creator>Mendez Hernandez, Judith S</dc:creator>
  <cp:lastModifiedBy>Clark, Connie</cp:lastModifiedBy>
  <cp:revision>3</cp:revision>
  <cp:lastPrinted>2024-04-19T13:47:23Z</cp:lastPrinted>
  <dcterms:created xsi:type="dcterms:W3CDTF">2024-04-03T22:50:00Z</dcterms:created>
  <dcterms:modified xsi:type="dcterms:W3CDTF">2024-04-19T16:5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f52e709-27cd-4bee-a620-278331e736b2_Enabled">
    <vt:lpwstr>true</vt:lpwstr>
  </property>
  <property fmtid="{D5CDD505-2E9C-101B-9397-08002B2CF9AE}" pid="3" name="MSIP_Label_3f52e709-27cd-4bee-a620-278331e736b2_SetDate">
    <vt:lpwstr>2024-04-03T22:51:17Z</vt:lpwstr>
  </property>
  <property fmtid="{D5CDD505-2E9C-101B-9397-08002B2CF9AE}" pid="4" name="MSIP_Label_3f52e709-27cd-4bee-a620-278331e736b2_Method">
    <vt:lpwstr>Privileged</vt:lpwstr>
  </property>
  <property fmtid="{D5CDD505-2E9C-101B-9397-08002B2CF9AE}" pid="5" name="MSIP_Label_3f52e709-27cd-4bee-a620-278331e736b2_Name">
    <vt:lpwstr>3f52e709-27cd-4bee-a620-278331e736b2</vt:lpwstr>
  </property>
  <property fmtid="{D5CDD505-2E9C-101B-9397-08002B2CF9AE}" pid="6" name="MSIP_Label_3f52e709-27cd-4bee-a620-278331e736b2_SiteId">
    <vt:lpwstr>fee2180b-69b6-4afe-9f14-ccd70bd4c737</vt:lpwstr>
  </property>
  <property fmtid="{D5CDD505-2E9C-101B-9397-08002B2CF9AE}" pid="7" name="MSIP_Label_3f52e709-27cd-4bee-a620-278331e736b2_ActionId">
    <vt:lpwstr>f4bf87fd-402a-437d-b9a3-77495386b6f9</vt:lpwstr>
  </property>
  <property fmtid="{D5CDD505-2E9C-101B-9397-08002B2CF9AE}" pid="8" name="MSIP_Label_3f52e709-27cd-4bee-a620-278331e736b2_ContentBits">
    <vt:lpwstr>0</vt:lpwstr>
  </property>
</Properties>
</file>